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1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2.xml" ContentType="application/vnd.openxmlformats-officedocument.presentationml.notesSl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autoCompressPictures="0">
  <p:sldMasterIdLst>
    <p:sldMasterId id="2147483877" r:id="rId1"/>
  </p:sldMasterIdLst>
  <p:notesMasterIdLst>
    <p:notesMasterId r:id="rId24"/>
  </p:notesMasterIdLst>
  <p:handoutMasterIdLst>
    <p:handoutMasterId r:id="rId25"/>
  </p:handoutMasterIdLst>
  <p:sldIdLst>
    <p:sldId id="273" r:id="rId2"/>
    <p:sldId id="683" r:id="rId3"/>
    <p:sldId id="656" r:id="rId4"/>
    <p:sldId id="647" r:id="rId5"/>
    <p:sldId id="623" r:id="rId6"/>
    <p:sldId id="652" r:id="rId7"/>
    <p:sldId id="655" r:id="rId8"/>
    <p:sldId id="657" r:id="rId9"/>
    <p:sldId id="651" r:id="rId10"/>
    <p:sldId id="684" r:id="rId11"/>
    <p:sldId id="659" r:id="rId12"/>
    <p:sldId id="661" r:id="rId13"/>
    <p:sldId id="685" r:id="rId14"/>
    <p:sldId id="664" r:id="rId15"/>
    <p:sldId id="676" r:id="rId16"/>
    <p:sldId id="674" r:id="rId17"/>
    <p:sldId id="686" r:id="rId18"/>
    <p:sldId id="654" r:id="rId19"/>
    <p:sldId id="687" r:id="rId20"/>
    <p:sldId id="637" r:id="rId21"/>
    <p:sldId id="672" r:id="rId22"/>
    <p:sldId id="294" r:id="rId23"/>
  </p:sldIdLst>
  <p:sldSz cx="9906000" cy="6858000" type="A4"/>
  <p:notesSz cx="7099300" cy="10234613"/>
  <p:embeddedFontLst>
    <p:embeddedFont>
      <p:font typeface="Calibri" panose="020F0502020204030204" pitchFamily="34" charset="0"/>
      <p:regular r:id="rId26"/>
      <p:bold r:id="rId27"/>
      <p:italic r:id="rId28"/>
      <p:boldItalic r:id="rId29"/>
    </p:embeddedFont>
    <p:embeddedFont>
      <p:font typeface="Source Sans Pro Semibold" panose="020B0604020202020204" charset="0"/>
      <p:bold r:id="rId30"/>
    </p:embeddedFont>
    <p:embeddedFont>
      <p:font typeface="Wingdings 3" panose="05040102010807070707" pitchFamily="18" charset="2"/>
      <p:regular r:id="rId31"/>
    </p:embeddedFont>
    <p:embeddedFont>
      <p:font typeface="Source Sans Pro Light" panose="020B0604020202020204" charset="0"/>
      <p:regular r:id="rId32"/>
    </p:embeddedFont>
    <p:embeddedFont>
      <p:font typeface="Source Sans Pro" panose="020B0604020202020204" charset="0"/>
      <p:regular r:id="rId33"/>
      <p:bold r:id="rId34"/>
    </p:embeddedFont>
    <p:embeddedFont>
      <p:font typeface="Source Sans Pro Bold" panose="020B0604020202020204" charset="0"/>
      <p:bold r:id="rId35"/>
    </p:embeddedFont>
  </p:embeddedFontLst>
  <p:custDataLst>
    <p:tags r:id="rId3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rgbClr val="000000"/>
        </a:solidFill>
        <a:latin typeface="Neutraface Text Book" charset="0"/>
        <a:ea typeface="ヒラギノ角ゴ ProN W3" charset="0"/>
        <a:cs typeface="ヒラギノ角ゴ ProN W3" charset="0"/>
        <a:sym typeface="Neutraface Text Book" charset="0"/>
      </a:defRPr>
    </a:lvl1pPr>
    <a:lvl2pPr marL="336512" indent="120636" algn="l" rtl="0" fontAlgn="base">
      <a:spcBef>
        <a:spcPct val="0"/>
      </a:spcBef>
      <a:spcAft>
        <a:spcPct val="0"/>
      </a:spcAft>
      <a:defRPr kern="1200">
        <a:solidFill>
          <a:srgbClr val="000000"/>
        </a:solidFill>
        <a:latin typeface="Neutraface Text Book" charset="0"/>
        <a:ea typeface="ヒラギノ角ゴ ProN W3" charset="0"/>
        <a:cs typeface="ヒラギノ角ゴ ProN W3" charset="0"/>
        <a:sym typeface="Neutraface Text Book" charset="0"/>
      </a:defRPr>
    </a:lvl2pPr>
    <a:lvl3pPr marL="673024" indent="241273" algn="l" rtl="0" fontAlgn="base">
      <a:spcBef>
        <a:spcPct val="0"/>
      </a:spcBef>
      <a:spcAft>
        <a:spcPct val="0"/>
      </a:spcAft>
      <a:defRPr kern="1200">
        <a:solidFill>
          <a:srgbClr val="000000"/>
        </a:solidFill>
        <a:latin typeface="Neutraface Text Book" charset="0"/>
        <a:ea typeface="ヒラギノ角ゴ ProN W3" charset="0"/>
        <a:cs typeface="ヒラギノ角ゴ ProN W3" charset="0"/>
        <a:sym typeface="Neutraface Text Book" charset="0"/>
      </a:defRPr>
    </a:lvl3pPr>
    <a:lvl4pPr marL="1009535" indent="361909" algn="l" rtl="0" fontAlgn="base">
      <a:spcBef>
        <a:spcPct val="0"/>
      </a:spcBef>
      <a:spcAft>
        <a:spcPct val="0"/>
      </a:spcAft>
      <a:defRPr kern="1200">
        <a:solidFill>
          <a:srgbClr val="000000"/>
        </a:solidFill>
        <a:latin typeface="Neutraface Text Book" charset="0"/>
        <a:ea typeface="ヒラギノ角ゴ ProN W3" charset="0"/>
        <a:cs typeface="ヒラギノ角ゴ ProN W3" charset="0"/>
        <a:sym typeface="Neutraface Text Book" charset="0"/>
      </a:defRPr>
    </a:lvl4pPr>
    <a:lvl5pPr marL="1346047" indent="482545" algn="l" rtl="0" fontAlgn="base">
      <a:spcBef>
        <a:spcPct val="0"/>
      </a:spcBef>
      <a:spcAft>
        <a:spcPct val="0"/>
      </a:spcAft>
      <a:defRPr kern="1200">
        <a:solidFill>
          <a:srgbClr val="000000"/>
        </a:solidFill>
        <a:latin typeface="Neutraface Text Book" charset="0"/>
        <a:ea typeface="ヒラギノ角ゴ ProN W3" charset="0"/>
        <a:cs typeface="ヒラギノ角ゴ ProN W3" charset="0"/>
        <a:sym typeface="Neutraface Text Book" charset="0"/>
      </a:defRPr>
    </a:lvl5pPr>
    <a:lvl6pPr marL="2285740" algn="l" defTabSz="457148" rtl="0" eaLnBrk="1" latinLnBrk="0" hangingPunct="1">
      <a:defRPr kern="1200">
        <a:solidFill>
          <a:srgbClr val="000000"/>
        </a:solidFill>
        <a:latin typeface="Neutraface Text Book" charset="0"/>
        <a:ea typeface="ヒラギノ角ゴ ProN W3" charset="0"/>
        <a:cs typeface="ヒラギノ角ゴ ProN W3" charset="0"/>
        <a:sym typeface="Neutraface Text Book" charset="0"/>
      </a:defRPr>
    </a:lvl6pPr>
    <a:lvl7pPr marL="2742888" algn="l" defTabSz="457148" rtl="0" eaLnBrk="1" latinLnBrk="0" hangingPunct="1">
      <a:defRPr kern="1200">
        <a:solidFill>
          <a:srgbClr val="000000"/>
        </a:solidFill>
        <a:latin typeface="Neutraface Text Book" charset="0"/>
        <a:ea typeface="ヒラギノ角ゴ ProN W3" charset="0"/>
        <a:cs typeface="ヒラギノ角ゴ ProN W3" charset="0"/>
        <a:sym typeface="Neutraface Text Book" charset="0"/>
      </a:defRPr>
    </a:lvl7pPr>
    <a:lvl8pPr marL="3200036" algn="l" defTabSz="457148" rtl="0" eaLnBrk="1" latinLnBrk="0" hangingPunct="1">
      <a:defRPr kern="1200">
        <a:solidFill>
          <a:srgbClr val="000000"/>
        </a:solidFill>
        <a:latin typeface="Neutraface Text Book" charset="0"/>
        <a:ea typeface="ヒラギノ角ゴ ProN W3" charset="0"/>
        <a:cs typeface="ヒラギノ角ゴ ProN W3" charset="0"/>
        <a:sym typeface="Neutraface Text Book" charset="0"/>
      </a:defRPr>
    </a:lvl8pPr>
    <a:lvl9pPr marL="3657184" algn="l" defTabSz="457148" rtl="0" eaLnBrk="1" latinLnBrk="0" hangingPunct="1">
      <a:defRPr kern="1200">
        <a:solidFill>
          <a:srgbClr val="000000"/>
        </a:solidFill>
        <a:latin typeface="Neutraface Text Book" charset="0"/>
        <a:ea typeface="ヒラギノ角ゴ ProN W3" charset="0"/>
        <a:cs typeface="ヒラギノ角ゴ ProN W3" charset="0"/>
        <a:sym typeface="Neutraface Text Book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77">
          <p15:clr>
            <a:srgbClr val="A4A3A4"/>
          </p15:clr>
        </p15:guide>
        <p15:guide id="2" orient="horz" pos="3929">
          <p15:clr>
            <a:srgbClr val="A4A3A4"/>
          </p15:clr>
        </p15:guide>
        <p15:guide id="3" orient="horz" pos="3930">
          <p15:clr>
            <a:srgbClr val="A4A3A4"/>
          </p15:clr>
        </p15:guide>
        <p15:guide id="4" orient="horz" pos="1094">
          <p15:clr>
            <a:srgbClr val="A4A3A4"/>
          </p15:clr>
        </p15:guide>
        <p15:guide id="5" orient="horz" pos="278">
          <p15:clr>
            <a:srgbClr val="A4A3A4"/>
          </p15:clr>
        </p15:guide>
        <p15:guide id="6" orient="horz" pos="981">
          <p15:clr>
            <a:srgbClr val="A4A3A4"/>
          </p15:clr>
        </p15:guide>
        <p15:guide id="7" pos="398">
          <p15:clr>
            <a:srgbClr val="A4A3A4"/>
          </p15:clr>
        </p15:guide>
        <p15:guide id="8" pos="5842">
          <p15:clr>
            <a:srgbClr val="A4A3A4"/>
          </p15:clr>
        </p15:guide>
        <p15:guide id="9" pos="648">
          <p15:clr>
            <a:srgbClr val="A4A3A4"/>
          </p15:clr>
        </p15:guide>
        <p15:guide id="10" pos="875">
          <p15:clr>
            <a:srgbClr val="A4A3A4"/>
          </p15:clr>
        </p15:guide>
        <p15:guide id="11" pos="110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2"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2D2D8A"/>
    <a:srgbClr val="E6E6E6"/>
    <a:srgbClr val="CC0000"/>
    <a:srgbClr val="D17D83"/>
    <a:srgbClr val="BFBFBF"/>
    <a:srgbClr val="00B050"/>
    <a:srgbClr val="7F7F7F"/>
    <a:srgbClr val="00009B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18603FDC-E32A-4AB5-989C-0864C3EAD2B8}" styleName="Стиль из темы 2 - акцент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Стиль из темы 2 - акцент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75DCB02-9BB8-47FD-8907-85C794F793BA}" styleName="Стиль из темы 1 - акцент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8A107856-5554-42FB-B03E-39F5DBC370BA}" styleName="Средний стиль 4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D113A9D2-9D6B-4929-AA2D-F23B5EE8CBE7}" styleName="Стиль из темы 2 - акцент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93D81CF-94F2-401A-BA57-92F5A7B2D0C5}" styleName="Средний стиль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1E171933-4619-4E11-9A3F-F7608DF75F80}" styleName="Средний стиль 1 -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2A488322-F2BA-4B5B-9748-0D474271808F}" styleName="Mittlere Formatvorlage 3 - 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985" autoAdjust="0"/>
    <p:restoredTop sz="85326" autoAdjust="0"/>
  </p:normalViewPr>
  <p:slideViewPr>
    <p:cSldViewPr snapToObjects="1">
      <p:cViewPr varScale="1">
        <p:scale>
          <a:sx n="63" d="100"/>
          <a:sy n="63" d="100"/>
        </p:scale>
        <p:origin x="750" y="60"/>
      </p:cViewPr>
      <p:guideLst>
        <p:guide orient="horz" pos="277"/>
        <p:guide orient="horz" pos="3929"/>
        <p:guide orient="horz" pos="3930"/>
        <p:guide orient="horz" pos="1094"/>
        <p:guide orient="horz" pos="278"/>
        <p:guide orient="horz" pos="981"/>
        <p:guide pos="398"/>
        <p:guide pos="5842"/>
        <p:guide pos="648"/>
        <p:guide pos="875"/>
        <p:guide pos="110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Objects="1" showGuides="1">
      <p:cViewPr varScale="1">
        <p:scale>
          <a:sx n="54" d="100"/>
          <a:sy n="54" d="100"/>
        </p:scale>
        <p:origin x="2604" y="72"/>
      </p:cViewPr>
      <p:guideLst>
        <p:guide orient="horz" pos="3224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1.fntdata"/><Relationship Id="rId39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font" Target="fonts/font9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33" Type="http://schemas.openxmlformats.org/officeDocument/2006/relationships/font" Target="fonts/font8.fntdata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font" Target="fonts/font4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32" Type="http://schemas.openxmlformats.org/officeDocument/2006/relationships/font" Target="fonts/font7.fntdata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font" Target="fonts/font3.fntdata"/><Relationship Id="rId36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font" Target="fonts/font6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font" Target="fonts/font2.fntdata"/><Relationship Id="rId30" Type="http://schemas.openxmlformats.org/officeDocument/2006/relationships/font" Target="fonts/font5.fntdata"/><Relationship Id="rId35" Type="http://schemas.openxmlformats.org/officeDocument/2006/relationships/font" Target="fonts/font10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1295" y="1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C41E7404-10DD-CC4C-9925-2FA4FCA79386}" type="datetime1">
              <a:rPr lang="en-US" smtClean="0"/>
              <a:pPr/>
              <a:t>12/7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721107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1295" y="9721107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D9B150D0-5E9E-0B40-A4C3-510A2D5A9244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728321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295" y="1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48D03E99-0BEC-7245-9069-3C587CC08273}" type="datetime1">
              <a:rPr lang="en-US" smtClean="0"/>
              <a:pPr/>
              <a:t>12/7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9463" y="768350"/>
            <a:ext cx="554037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vert="horz" lIns="99048" tIns="49524" rIns="99048" bIns="49524" rtlCol="0">
            <a:normAutofit/>
          </a:bodyPr>
          <a:lstStyle/>
          <a:p>
            <a:pPr lvl="0"/>
            <a:r>
              <a:rPr lang="de-CH" smtClean="0"/>
              <a:t>Click to edit Master text styles</a:t>
            </a:r>
          </a:p>
          <a:p>
            <a:pPr lvl="1"/>
            <a:r>
              <a:rPr lang="de-CH" smtClean="0"/>
              <a:t>Second level</a:t>
            </a:r>
          </a:p>
          <a:p>
            <a:pPr lvl="2"/>
            <a:r>
              <a:rPr lang="de-CH" smtClean="0"/>
              <a:t>Third level</a:t>
            </a:r>
          </a:p>
          <a:p>
            <a:pPr lvl="3"/>
            <a:r>
              <a:rPr lang="de-CH" smtClean="0"/>
              <a:t>Fourth level</a:t>
            </a:r>
          </a:p>
          <a:p>
            <a:pPr lvl="4"/>
            <a:r>
              <a:rPr lang="de-CH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721107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295" y="9721107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B3014CB9-90DD-264B-BEB7-41610A1CB5A8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296787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14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48" algn="l" defTabSz="45714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96" algn="l" defTabSz="45714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445" algn="l" defTabSz="45714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92" algn="l" defTabSz="45714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740" algn="l" defTabSz="45714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888" algn="l" defTabSz="45714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36" algn="l" defTabSz="45714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184" algn="l" defTabSz="45714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Go</a:t>
            </a:r>
            <a:r>
              <a:rPr lang="en-GB" baseline="0" dirty="0" smtClean="0"/>
              <a:t> to R and show Map 1: Relative customer numbers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014CB9-90DD-264B-BEB7-41610A1CB5A8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01392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1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 smtClean="0"/>
              <a:t>Go</a:t>
            </a:r>
            <a:r>
              <a:rPr lang="en-GB" baseline="0" dirty="0" smtClean="0"/>
              <a:t> to R and show </a:t>
            </a:r>
            <a:r>
              <a:rPr lang="en-GB" baseline="0" smtClean="0"/>
              <a:t>Map 2: Market Potential</a:t>
            </a:r>
            <a:endParaRPr lang="en-GB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014CB9-90DD-264B-BEB7-41610A1CB5A8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4330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0" Type="http://schemas.openxmlformats.org/officeDocument/2006/relationships/image" Target="../media/image1.emf"/><Relationship Id="rId4" Type="http://schemas.openxmlformats.org/officeDocument/2006/relationships/tags" Target="../tags/tag4.xml"/><Relationship Id="rId9" Type="http://schemas.openxmlformats.org/officeDocument/2006/relationships/oleObject" Target="../embeddings/oleObject1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3684" y="367479"/>
            <a:ext cx="8027813" cy="571500"/>
          </a:xfrm>
        </p:spPr>
        <p:txBody>
          <a:bodyPr anchor="t"/>
          <a:lstStyle>
            <a:lvl1pPr>
              <a:lnSpc>
                <a:spcPct val="100000"/>
              </a:lnSpc>
              <a:defRPr lang="en-US" sz="2800" b="1" dirty="0">
                <a:solidFill>
                  <a:srgbClr val="00009B"/>
                </a:solidFill>
                <a:latin typeface="Source Sans Pro Semibold"/>
                <a:ea typeface="+mj-ea"/>
                <a:cs typeface="Source Sans Pro Semibold"/>
                <a:sym typeface="Neutraface Text Book" charset="0"/>
              </a:defRPr>
            </a:lvl1pPr>
          </a:lstStyle>
          <a:p>
            <a:pPr marL="41271" lvl="0" indent="-41271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619125" y="1556415"/>
            <a:ext cx="8667750" cy="43844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marL="359959" indent="-359959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355559" algn="l"/>
              </a:tabLst>
              <a:defRPr/>
            </a:lvl1pPr>
            <a:lvl2pPr marL="726992" indent="-358734" defTabSz="723818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723818" algn="l"/>
              </a:tabLst>
              <a:defRPr/>
            </a:lvl2pPr>
            <a:lvl3pPr marL="1082552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079377" algn="l"/>
              </a:tabLst>
              <a:defRPr/>
            </a:lvl3pPr>
            <a:lvl4pPr marL="1438111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434937" algn="l"/>
              </a:tabLst>
              <a:defRPr/>
            </a:lvl4pPr>
            <a:lvl5pPr marL="1793671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790497" algn="l"/>
              </a:tabLst>
              <a:defRPr/>
            </a:lvl5pPr>
          </a:lstStyle>
          <a:p>
            <a:pPr lvl="0"/>
            <a:r>
              <a:rPr lang="en-US" noProof="0" dirty="0" smtClean="0">
                <a:sym typeface="Neutraface Text Book" charset="0"/>
              </a:rPr>
              <a:t>Click to edit Master text styles</a:t>
            </a:r>
          </a:p>
          <a:p>
            <a:pPr lvl="1"/>
            <a:r>
              <a:rPr lang="en-US" noProof="0" dirty="0" smtClean="0">
                <a:sym typeface="Neutraface Text Book" charset="0"/>
              </a:rPr>
              <a:t>Second level</a:t>
            </a:r>
          </a:p>
          <a:p>
            <a:pPr lvl="2"/>
            <a:r>
              <a:rPr lang="en-US" noProof="0" dirty="0" smtClean="0">
                <a:sym typeface="Neutraface Text Book" charset="0"/>
              </a:rPr>
              <a:t>Third level</a:t>
            </a:r>
          </a:p>
          <a:p>
            <a:pPr lvl="3"/>
            <a:r>
              <a:rPr lang="en-US" noProof="0" dirty="0" smtClean="0">
                <a:sym typeface="Neutraface Text Book" charset="0"/>
              </a:rPr>
              <a:t>Fourth level</a:t>
            </a:r>
          </a:p>
          <a:p>
            <a:pPr lvl="4"/>
            <a:r>
              <a:rPr lang="en-US" noProof="0" dirty="0" smtClean="0">
                <a:sym typeface="Neutraface Text Book" charset="0"/>
              </a:rPr>
              <a:t>Fifth level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73504" y="6076313"/>
            <a:ext cx="9216000" cy="390339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spcAft>
                <a:spcPts val="0"/>
              </a:spcAft>
              <a:defRPr sz="1200">
                <a:solidFill>
                  <a:srgbClr val="808080"/>
                </a:solidFill>
              </a:defRPr>
            </a:lvl1pPr>
          </a:lstStyle>
          <a:p>
            <a:pPr lvl="0"/>
            <a:endParaRPr lang="de-CH" dirty="0" smtClean="0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8466000" y="0"/>
            <a:ext cx="1440000" cy="360000"/>
          </a:xfrm>
          <a:prstGeom prst="rect">
            <a:avLst/>
          </a:prstGeom>
          <a:solidFill>
            <a:srgbClr val="E6E6E6"/>
          </a:solidFill>
        </p:spPr>
        <p:txBody>
          <a:bodyPr wrap="none" anchor="ctr">
            <a:noAutofit/>
          </a:bodyPr>
          <a:lstStyle>
            <a:lvl1pPr algn="r">
              <a:spcAft>
                <a:spcPts val="0"/>
              </a:spcAft>
              <a:defRPr sz="1600">
                <a:solidFill>
                  <a:srgbClr val="7F7F7F"/>
                </a:solidFill>
              </a:defRPr>
            </a:lvl1pPr>
          </a:lstStyle>
          <a:p>
            <a:pPr lvl="0"/>
            <a:endParaRPr lang="de-CH" dirty="0" smtClean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0" y="0"/>
            <a:ext cx="9906000" cy="134076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29" tIns="45715" rIns="91429" bIns="45715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29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3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Neutraface Text Book" charset="0"/>
              <a:ea typeface="ヒラギノ角ゴ ProN W3" charset="0"/>
              <a:cs typeface="ヒラギノ角ゴ ProN W3" charset="0"/>
              <a:sym typeface="Neutraface Text Book" charset="0"/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0" y="44624"/>
            <a:ext cx="9906000" cy="134076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29" tIns="45715" rIns="91429" bIns="45715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29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3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Neutraface Text Book" charset="0"/>
              <a:ea typeface="ヒラギノ角ゴ ProN W3" charset="0"/>
              <a:cs typeface="ヒラギノ角ゴ ProN W3" charset="0"/>
              <a:sym typeface="Neutraface Text Boo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0153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6759630"/>
              </p:ext>
            </p:extLst>
          </p:nvPr>
        </p:nvGraphicFramePr>
        <p:xfrm>
          <a:off x="0" y="1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9906000" cy="6858000"/>
          </a:xfrm>
          <a:prstGeom prst="rect">
            <a:avLst/>
          </a:prstGeom>
          <a:solidFill>
            <a:srgbClr val="00009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29" tIns="45715" rIns="91429" bIns="45715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300" dirty="0">
              <a:solidFill>
                <a:srgbClr val="000000"/>
              </a:solidFill>
              <a:latin typeface="Source Sans Pro"/>
              <a:cs typeface="Source Sans Pro"/>
              <a:sym typeface="Neutraface Text Book" charset="0"/>
            </a:endParaRPr>
          </a:p>
        </p:txBody>
      </p:sp>
      <p:sp>
        <p:nvSpPr>
          <p:cNvPr id="4" name="Rectangle 1"/>
          <p:cNvSpPr>
            <a:spLocks noGrp="1" noChangeArrowheads="1"/>
          </p:cNvSpPr>
          <p:nvPr>
            <p:ph idx="1"/>
            <p:custDataLst>
              <p:tags r:id="rId4"/>
            </p:custDataLst>
          </p:nvPr>
        </p:nvSpPr>
        <p:spPr bwMode="auto">
          <a:xfrm>
            <a:off x="619125" y="3049364"/>
            <a:ext cx="8648402" cy="22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>
                <a:sym typeface="Neutraface Text Book" charset="0"/>
              </a:rPr>
              <a:t>Click to edit Master text styles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 bwMode="auto">
          <a:xfrm>
            <a:off x="619125" y="2408189"/>
            <a:ext cx="8648402" cy="660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>
              <a:defRPr sz="4000" b="1">
                <a:solidFill>
                  <a:schemeClr val="bg1"/>
                </a:solidFill>
                <a:latin typeface="Source Sans Pro Bold"/>
                <a:cs typeface="Source Sans Pro Bold"/>
              </a:defRPr>
            </a:lvl1pPr>
          </a:lstStyle>
          <a:p>
            <a:pPr lvl="0"/>
            <a:r>
              <a:rPr lang="en-US" noProof="0" dirty="0" smtClean="0">
                <a:sym typeface="Neutraface Text Book" charset="0"/>
              </a:rPr>
              <a:t>Click to edit Master title style</a:t>
            </a:r>
            <a:endParaRPr lang="en-US" noProof="0" dirty="0">
              <a:sym typeface="Neutraface Text Book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6"/>
            </p:custDataLst>
          </p:nvPr>
        </p:nvSpPr>
        <p:spPr bwMode="auto">
          <a:xfrm>
            <a:off x="7210578" y="5107485"/>
            <a:ext cx="2685574" cy="90633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29" tIns="45715" rIns="91429" bIns="45715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300">
              <a:solidFill>
                <a:srgbClr val="000000"/>
              </a:solidFill>
              <a:sym typeface="Neutraface Text Book" charset="0"/>
            </a:endParaRPr>
          </a:p>
        </p:txBody>
      </p:sp>
      <p:pic>
        <p:nvPicPr>
          <p:cNvPr id="13" name="Picture 44" descr="http://t1.gstatic.com/images?q=tbn:ANd9GcS-TCeP5_rbsrXyYxOdmc8tOnvTPIwWfU9obyUwEns1dWEluKflAQ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7086" y="5182252"/>
            <a:ext cx="2177549" cy="73352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 Placeholder 10"/>
          <p:cNvSpPr txBox="1">
            <a:spLocks/>
          </p:cNvSpPr>
          <p:nvPr userDrawn="1"/>
        </p:nvSpPr>
        <p:spPr>
          <a:xfrm>
            <a:off x="0" y="6598800"/>
            <a:ext cx="9906000" cy="259200"/>
          </a:xfrm>
          <a:prstGeom prst="rect">
            <a:avLst/>
          </a:prstGeom>
          <a:solidFill>
            <a:schemeClr val="bg1"/>
          </a:solidFill>
        </p:spPr>
        <p:txBody>
          <a:bodyPr lIns="91429" tIns="45715" rIns="91429" bIns="45715" anchor="b"/>
          <a:lstStyle>
            <a:lvl1pPr marL="0" indent="-185738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1pPr>
            <a:lvl2pPr marL="0" indent="-185738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2pPr>
            <a:lvl3pPr marL="0" indent="-228600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3pPr>
            <a:lvl4pPr marL="0" indent="-228600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4pPr>
            <a:lvl5pPr marL="0" indent="-228600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5pPr>
            <a:lvl6pPr marL="336774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6pPr>
            <a:lvl7pPr marL="673547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7pPr>
            <a:lvl8pPr marL="1010321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8pPr>
            <a:lvl9pPr marL="1347094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9pPr>
          </a:lstStyle>
          <a:p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0" y="6525344"/>
            <a:ext cx="9906000" cy="259200"/>
          </a:xfrm>
        </p:spPr>
        <p:txBody>
          <a:bodyPr/>
          <a:lstStyle>
            <a:lvl1pPr algn="r">
              <a:defRPr sz="12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16981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9563" y="374303"/>
            <a:ext cx="8027813" cy="571500"/>
          </a:xfrm>
        </p:spPr>
        <p:txBody>
          <a:bodyPr anchor="t"/>
          <a:lstStyle>
            <a:lvl1pPr>
              <a:lnSpc>
                <a:spcPct val="100000"/>
              </a:lnSpc>
              <a:defRPr lang="en-US" sz="2800" dirty="0">
                <a:solidFill>
                  <a:srgbClr val="00009B"/>
                </a:solidFill>
                <a:latin typeface="Source Sans Pro Semibold"/>
                <a:ea typeface="+mj-ea"/>
                <a:cs typeface="Source Sans Pro Semibold"/>
                <a:sym typeface="Neutraface Text Book" charset="0"/>
              </a:defRPr>
            </a:lvl1pPr>
          </a:lstStyle>
          <a:p>
            <a:pPr marL="41275" lvl="0" indent="-41275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619125" y="1556414"/>
            <a:ext cx="8667750" cy="43844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360000" indent="-360000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355600" algn="l"/>
              </a:tabLst>
              <a:defRPr/>
            </a:lvl1pPr>
            <a:lvl2pPr marL="727075" indent="-358775" defTabSz="723900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723900" algn="l"/>
              </a:tabLst>
              <a:defRPr/>
            </a:lvl2pPr>
            <a:lvl3pPr marL="1082675" indent="-358775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079500" algn="l"/>
              </a:tabLst>
              <a:defRPr/>
            </a:lvl3pPr>
            <a:lvl4pPr marL="1438275" indent="-358775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435100" algn="l"/>
              </a:tabLst>
              <a:defRPr/>
            </a:lvl4pPr>
            <a:lvl5pPr marL="1793875" indent="-358775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790700" algn="l"/>
              </a:tabLst>
              <a:defRPr/>
            </a:lvl5pPr>
          </a:lstStyle>
          <a:p>
            <a:pPr lvl="0"/>
            <a:r>
              <a:rPr lang="en-US" noProof="0" dirty="0" smtClean="0">
                <a:sym typeface="Neutraface Text Book" charset="0"/>
              </a:rPr>
              <a:t>Click to edit Master text styles</a:t>
            </a:r>
          </a:p>
          <a:p>
            <a:pPr lvl="1"/>
            <a:r>
              <a:rPr lang="en-US" noProof="0" dirty="0" smtClean="0">
                <a:sym typeface="Neutraface Text Book" charset="0"/>
              </a:rPr>
              <a:t>Second level</a:t>
            </a:r>
          </a:p>
          <a:p>
            <a:pPr lvl="2"/>
            <a:r>
              <a:rPr lang="en-US" noProof="0" dirty="0" smtClean="0">
                <a:sym typeface="Neutraface Text Book" charset="0"/>
              </a:rPr>
              <a:t>Third level</a:t>
            </a:r>
          </a:p>
          <a:p>
            <a:pPr lvl="3"/>
            <a:r>
              <a:rPr lang="en-US" noProof="0" dirty="0" smtClean="0">
                <a:sym typeface="Neutraface Text Book" charset="0"/>
              </a:rPr>
              <a:t>Fourth level</a:t>
            </a:r>
          </a:p>
          <a:p>
            <a:pPr lvl="4"/>
            <a:r>
              <a:rPr lang="en-US" noProof="0" dirty="0" smtClean="0">
                <a:sym typeface="Neutraface Text Book" charset="0"/>
              </a:rPr>
              <a:t>Fifth level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8466000" y="0"/>
            <a:ext cx="1440000" cy="360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none" anchor="ctr">
            <a:noAutofit/>
          </a:bodyPr>
          <a:lstStyle>
            <a:lvl1pPr algn="r">
              <a:spcAft>
                <a:spcPts val="0"/>
              </a:spcAft>
              <a:defRPr sz="1600">
                <a:solidFill>
                  <a:srgbClr val="7F7F7F"/>
                </a:solidFill>
              </a:defRPr>
            </a:lvl1pPr>
          </a:lstStyle>
          <a:p>
            <a:pPr lvl="0"/>
            <a:endParaRPr lang="de-CH" dirty="0" smtClean="0"/>
          </a:p>
        </p:txBody>
      </p:sp>
    </p:spTree>
    <p:extLst>
      <p:ext uri="{BB962C8B-B14F-4D97-AF65-F5344CB8AC3E}">
        <p14:creationId xmlns:p14="http://schemas.microsoft.com/office/powerpoint/2010/main" val="3312194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3684" y="367479"/>
            <a:ext cx="8027813" cy="571500"/>
          </a:xfrm>
          <a:prstGeom prst="rect">
            <a:avLst/>
          </a:prstGeom>
        </p:spPr>
        <p:txBody>
          <a:bodyPr anchor="t"/>
          <a:lstStyle>
            <a:lvl1pPr>
              <a:lnSpc>
                <a:spcPct val="100000"/>
              </a:lnSpc>
              <a:defRPr lang="en-US" sz="2800" b="1" dirty="0">
                <a:solidFill>
                  <a:srgbClr val="00009B"/>
                </a:solidFill>
                <a:latin typeface="Source Sans Pro Semibold"/>
                <a:ea typeface="+mj-ea"/>
                <a:cs typeface="Source Sans Pro Semibold"/>
                <a:sym typeface="Neutraface Text Book" charset="0"/>
              </a:defRPr>
            </a:lvl1pPr>
          </a:lstStyle>
          <a:p>
            <a:pPr marL="41271" lvl="0" indent="-41271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619125" y="1556415"/>
            <a:ext cx="8667750" cy="43844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marL="359959" indent="-359959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355559" algn="l"/>
              </a:tabLst>
              <a:defRPr/>
            </a:lvl1pPr>
            <a:lvl2pPr marL="726992" indent="-358734" defTabSz="723818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723818" algn="l"/>
              </a:tabLst>
              <a:defRPr/>
            </a:lvl2pPr>
            <a:lvl3pPr marL="1082552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079377" algn="l"/>
              </a:tabLst>
              <a:defRPr/>
            </a:lvl3pPr>
            <a:lvl4pPr marL="1438111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434937" algn="l"/>
              </a:tabLst>
              <a:defRPr/>
            </a:lvl4pPr>
            <a:lvl5pPr marL="1793671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790497" algn="l"/>
              </a:tabLst>
              <a:defRPr/>
            </a:lvl5pPr>
          </a:lstStyle>
          <a:p>
            <a:pPr lvl="0"/>
            <a:r>
              <a:rPr lang="en-US" noProof="0" dirty="0" smtClean="0">
                <a:sym typeface="Neutraface Text Book" charset="0"/>
              </a:rPr>
              <a:t>Click to edit Master text styles</a:t>
            </a:r>
          </a:p>
          <a:p>
            <a:pPr lvl="1"/>
            <a:r>
              <a:rPr lang="en-US" noProof="0" dirty="0" smtClean="0">
                <a:sym typeface="Neutraface Text Book" charset="0"/>
              </a:rPr>
              <a:t>Second level</a:t>
            </a:r>
          </a:p>
          <a:p>
            <a:pPr lvl="2"/>
            <a:r>
              <a:rPr lang="en-US" noProof="0" dirty="0" smtClean="0">
                <a:sym typeface="Neutraface Text Book" charset="0"/>
              </a:rPr>
              <a:t>Third level</a:t>
            </a:r>
          </a:p>
          <a:p>
            <a:pPr lvl="3"/>
            <a:r>
              <a:rPr lang="en-US" noProof="0" dirty="0" smtClean="0">
                <a:sym typeface="Neutraface Text Book" charset="0"/>
              </a:rPr>
              <a:t>Fourth level</a:t>
            </a:r>
          </a:p>
          <a:p>
            <a:pPr lvl="4"/>
            <a:r>
              <a:rPr lang="en-US" noProof="0" dirty="0" smtClean="0">
                <a:sym typeface="Neutraface Text Book" charset="0"/>
              </a:rPr>
              <a:t>Fifth level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73504" y="6076313"/>
            <a:ext cx="9216000" cy="390339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spcAft>
                <a:spcPts val="0"/>
              </a:spcAft>
              <a:defRPr sz="1200">
                <a:solidFill>
                  <a:srgbClr val="808080"/>
                </a:solidFill>
              </a:defRPr>
            </a:lvl1pPr>
          </a:lstStyle>
          <a:p>
            <a:pPr lvl="0"/>
            <a:endParaRPr lang="de-CH" dirty="0" smtClean="0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8466000" y="0"/>
            <a:ext cx="1440000" cy="360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none" anchor="ctr">
            <a:noAutofit/>
          </a:bodyPr>
          <a:lstStyle>
            <a:lvl1pPr algn="r">
              <a:spcAft>
                <a:spcPts val="0"/>
              </a:spcAft>
              <a:defRPr sz="1600">
                <a:solidFill>
                  <a:srgbClr val="7F7F7F"/>
                </a:solidFill>
              </a:defRPr>
            </a:lvl1pPr>
          </a:lstStyle>
          <a:p>
            <a:pPr lvl="0"/>
            <a:endParaRPr lang="de-CH" dirty="0" smtClean="0"/>
          </a:p>
        </p:txBody>
      </p:sp>
    </p:spTree>
    <p:extLst>
      <p:ext uri="{BB962C8B-B14F-4D97-AF65-F5344CB8AC3E}">
        <p14:creationId xmlns:p14="http://schemas.microsoft.com/office/powerpoint/2010/main" val="162280222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38743" y="367954"/>
            <a:ext cx="8027813" cy="571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4257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>
                <a:sym typeface="Neutraface Text Book" charset="0"/>
              </a:rPr>
              <a:t>Click to edit Master title style</a:t>
            </a:r>
            <a:endParaRPr lang="en-US" dirty="0">
              <a:sym typeface="Neutraface Text Book" charset="0"/>
            </a:endParaRP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19125" y="1556217"/>
            <a:ext cx="8667750" cy="4384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56122" tIns="56122" rIns="98693" bIns="5612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>
                <a:sym typeface="Neutraface Text Book" charset="0"/>
              </a:rPr>
              <a:t>Click to edit </a:t>
            </a:r>
            <a:r>
              <a:rPr lang="en-US" dirty="0" smtClean="0">
                <a:sym typeface="Neutraface Text Book" charset="0"/>
              </a:rPr>
              <a:t>Master </a:t>
            </a:r>
            <a:r>
              <a:rPr lang="en-US" dirty="0">
                <a:sym typeface="Neutraface Text Book" charset="0"/>
              </a:rPr>
              <a:t>text styles</a:t>
            </a:r>
          </a:p>
          <a:p>
            <a:pPr lvl="1"/>
            <a:r>
              <a:rPr lang="en-US" dirty="0">
                <a:sym typeface="Neutraface Text Book" charset="0"/>
              </a:rPr>
              <a:t>Second level</a:t>
            </a:r>
          </a:p>
          <a:p>
            <a:pPr lvl="2"/>
            <a:r>
              <a:rPr lang="en-US" dirty="0">
                <a:sym typeface="Neutraface Text Book" charset="0"/>
              </a:rPr>
              <a:t>Third level</a:t>
            </a:r>
          </a:p>
          <a:p>
            <a:pPr lvl="3"/>
            <a:r>
              <a:rPr lang="en-US" dirty="0">
                <a:sym typeface="Neutraface Text Book" charset="0"/>
              </a:rPr>
              <a:t>Fourth level</a:t>
            </a:r>
          </a:p>
          <a:p>
            <a:pPr lvl="4"/>
            <a:r>
              <a:rPr lang="en-US" dirty="0">
                <a:sym typeface="Neutraface Text Book" charset="0"/>
              </a:rPr>
              <a:t>Fifth </a:t>
            </a:r>
            <a:r>
              <a:rPr lang="en-US" dirty="0" smtClean="0">
                <a:sym typeface="Neutraface Text Book" charset="0"/>
              </a:rPr>
              <a:t>level</a:t>
            </a:r>
          </a:p>
          <a:p>
            <a:pPr lvl="4"/>
            <a:endParaRPr lang="en-US" dirty="0" smtClean="0">
              <a:sym typeface="Neutraface Text Book" charset="0"/>
            </a:endParaRPr>
          </a:p>
        </p:txBody>
      </p:sp>
      <p:sp>
        <p:nvSpPr>
          <p:cNvPr id="5" name="Slide Number Placeholder 2"/>
          <p:cNvSpPr txBox="1">
            <a:spLocks/>
          </p:cNvSpPr>
          <p:nvPr/>
        </p:nvSpPr>
        <p:spPr>
          <a:xfrm>
            <a:off x="8769425" y="332656"/>
            <a:ext cx="1152128" cy="547200"/>
          </a:xfrm>
          <a:prstGeom prst="rect">
            <a:avLst/>
          </a:prstGeom>
        </p:spPr>
        <p:txBody>
          <a:bodyPr wrap="none" lIns="91429" tIns="45715" rIns="91429" bIns="45715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rgbClr val="000000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1pPr>
            <a:lvl2pPr marL="336550" indent="12065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rgbClr val="000000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2pPr>
            <a:lvl3pPr marL="673100" indent="2413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rgbClr val="000000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3pPr>
            <a:lvl4pPr marL="1009650" indent="36195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rgbClr val="000000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4pPr>
            <a:lvl5pPr marL="1346200" indent="482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rgbClr val="000000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5pPr>
            <a:lvl6pPr marL="2286000" algn="l" defTabSz="457200" rtl="0" eaLnBrk="1" latinLnBrk="0" hangingPunct="1">
              <a:defRPr kern="1200">
                <a:solidFill>
                  <a:srgbClr val="000000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6pPr>
            <a:lvl7pPr marL="2743200" algn="l" defTabSz="457200" rtl="0" eaLnBrk="1" latinLnBrk="0" hangingPunct="1">
              <a:defRPr kern="1200">
                <a:solidFill>
                  <a:srgbClr val="000000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7pPr>
            <a:lvl8pPr marL="3200400" algn="l" defTabSz="457200" rtl="0" eaLnBrk="1" latinLnBrk="0" hangingPunct="1">
              <a:defRPr kern="1200">
                <a:solidFill>
                  <a:srgbClr val="000000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8pPr>
            <a:lvl9pPr marL="3657600" algn="l" defTabSz="457200" rtl="0" eaLnBrk="1" latinLnBrk="0" hangingPunct="1">
              <a:defRPr kern="1200">
                <a:solidFill>
                  <a:srgbClr val="000000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9pPr>
          </a:lstStyle>
          <a:p>
            <a:pPr algn="r">
              <a:defRPr/>
            </a:pPr>
            <a:fld id="{0D1EF792-5AD6-EF4A-AB4F-5193F0DDAFEF}" type="slidenum">
              <a:rPr lang="en-US" sz="2800" b="1" smtClean="0">
                <a:solidFill>
                  <a:schemeClr val="bg2">
                    <a:lumMod val="20000"/>
                    <a:lumOff val="80000"/>
                  </a:schemeClr>
                </a:solidFill>
                <a:latin typeface="Source Sans Pro Semibold"/>
                <a:cs typeface="Source Sans Pro Semibold"/>
              </a:rPr>
              <a:pPr algn="r">
                <a:defRPr/>
              </a:pPr>
              <a:t>‹Nr.›</a:t>
            </a:fld>
            <a:endParaRPr lang="en-US" sz="2800" b="1" dirty="0">
              <a:solidFill>
                <a:schemeClr val="bg2">
                  <a:lumMod val="20000"/>
                  <a:lumOff val="80000"/>
                </a:schemeClr>
              </a:solidFill>
              <a:latin typeface="Source Sans Pro Semibold"/>
              <a:cs typeface="Source Sans Pro Semibold"/>
            </a:endParaRPr>
          </a:p>
        </p:txBody>
      </p:sp>
      <p:sp>
        <p:nvSpPr>
          <p:cNvPr id="13" name="Text Placeholder 10"/>
          <p:cNvSpPr txBox="1">
            <a:spLocks/>
          </p:cNvSpPr>
          <p:nvPr/>
        </p:nvSpPr>
        <p:spPr>
          <a:xfrm>
            <a:off x="0" y="6598800"/>
            <a:ext cx="9906000" cy="259200"/>
          </a:xfrm>
          <a:prstGeom prst="rect">
            <a:avLst/>
          </a:prstGeom>
          <a:solidFill>
            <a:srgbClr val="000000"/>
          </a:solidFill>
        </p:spPr>
        <p:txBody>
          <a:bodyPr lIns="91429" tIns="45715" rIns="91429" bIns="45715" anchor="b"/>
          <a:lstStyle>
            <a:lvl1pPr marL="0" indent="-185738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1pPr>
            <a:lvl2pPr marL="0" indent="-185738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2pPr>
            <a:lvl3pPr marL="0" indent="-228600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3pPr>
            <a:lvl4pPr marL="0" indent="-228600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4pPr>
            <a:lvl5pPr marL="0" indent="-228600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5pPr>
            <a:lvl6pPr marL="336774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6pPr>
            <a:lvl7pPr marL="673547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7pPr>
            <a:lvl8pPr marL="1010321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8pPr>
            <a:lvl9pPr marL="1347094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9pPr>
          </a:lstStyle>
          <a:p>
            <a:endParaRPr lang="en-US" dirty="0"/>
          </a:p>
        </p:txBody>
      </p:sp>
      <p:sp>
        <p:nvSpPr>
          <p:cNvPr id="15" name="Rectangle 14"/>
          <p:cNvSpPr/>
          <p:nvPr/>
        </p:nvSpPr>
        <p:spPr bwMode="auto">
          <a:xfrm>
            <a:off x="0" y="2"/>
            <a:ext cx="256928" cy="1196975"/>
          </a:xfrm>
          <a:prstGeom prst="rect">
            <a:avLst/>
          </a:prstGeom>
          <a:solidFill>
            <a:schemeClr val="accent6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29" tIns="45715" rIns="91429" bIns="45715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29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3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Neutraface Text Book" charset="0"/>
              <a:ea typeface="ヒラギノ角ゴ ProN W3" charset="0"/>
              <a:cs typeface="ヒラギノ角ゴ ProN W3" charset="0"/>
              <a:sym typeface="Neutraface Text Book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26" r:id="rId1"/>
    <p:sldLayoutId id="2147483928" r:id="rId2"/>
    <p:sldLayoutId id="2147483938" r:id="rId3"/>
    <p:sldLayoutId id="2147483939" r:id="rId4"/>
    <p:sldLayoutId id="2147483940" r:id="rId5"/>
  </p:sldLayoutIdLst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marL="41271" indent="-41271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2800">
          <a:solidFill>
            <a:srgbClr val="00009B"/>
          </a:solidFill>
          <a:latin typeface="Source Sans Pro Semibold"/>
          <a:ea typeface="+mj-ea"/>
          <a:cs typeface="Source Sans Pro Semibold"/>
          <a:sym typeface="Neutraface Text Book" charset="0"/>
        </a:defRPr>
      </a:lvl1pPr>
      <a:lvl2pPr marL="41271" indent="-41271"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300">
          <a:solidFill>
            <a:srgbClr val="00009B"/>
          </a:solidFill>
          <a:latin typeface="Helvetica Neue" charset="0"/>
          <a:ea typeface="ヒラギノ角ゴ ProN W3" charset="0"/>
          <a:cs typeface="ヒラギノ角ゴ ProN W3" charset="0"/>
          <a:sym typeface="Neutraface Text Book" charset="0"/>
        </a:defRPr>
      </a:lvl2pPr>
      <a:lvl3pPr marL="41271" indent="-41271"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300">
          <a:solidFill>
            <a:srgbClr val="00009B"/>
          </a:solidFill>
          <a:latin typeface="Helvetica Neue" charset="0"/>
          <a:ea typeface="ヒラギノ角ゴ ProN W3" charset="0"/>
          <a:cs typeface="ヒラギノ角ゴ ProN W3" charset="0"/>
          <a:sym typeface="Neutraface Text Book" charset="0"/>
        </a:defRPr>
      </a:lvl3pPr>
      <a:lvl4pPr marL="41271" indent="-41271"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300">
          <a:solidFill>
            <a:srgbClr val="00009B"/>
          </a:solidFill>
          <a:latin typeface="Helvetica Neue" charset="0"/>
          <a:ea typeface="ヒラギノ角ゴ ProN W3" charset="0"/>
          <a:cs typeface="ヒラギノ角ゴ ProN W3" charset="0"/>
          <a:sym typeface="Neutraface Text Book" charset="0"/>
        </a:defRPr>
      </a:lvl4pPr>
      <a:lvl5pPr marL="41271" indent="-41271"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300">
          <a:solidFill>
            <a:srgbClr val="00009B"/>
          </a:solidFill>
          <a:latin typeface="Helvetica Neue" charset="0"/>
          <a:ea typeface="ヒラギノ角ゴ ProN W3" charset="0"/>
          <a:cs typeface="ヒラギノ角ゴ ProN W3" charset="0"/>
          <a:sym typeface="Neutraface Text Book" charset="0"/>
        </a:defRPr>
      </a:lvl5pPr>
      <a:lvl6pPr marL="378827" algn="l" rtl="0" fontAlgn="base">
        <a:lnSpc>
          <a:spcPct val="80000"/>
        </a:lnSpc>
        <a:spcBef>
          <a:spcPct val="0"/>
        </a:spcBef>
        <a:spcAft>
          <a:spcPct val="0"/>
        </a:spcAft>
        <a:defRPr sz="2300">
          <a:solidFill>
            <a:srgbClr val="00009B"/>
          </a:solidFill>
          <a:latin typeface="Neutraface Text Book" charset="0"/>
          <a:ea typeface="ヒラギノ角ゴ ProN W3" charset="0"/>
          <a:cs typeface="ヒラギノ角ゴ ProN W3" charset="0"/>
          <a:sym typeface="Neutraface Text Book" charset="0"/>
        </a:defRPr>
      </a:lvl6pPr>
      <a:lvl7pPr marL="715563" algn="l" rtl="0" fontAlgn="base">
        <a:lnSpc>
          <a:spcPct val="80000"/>
        </a:lnSpc>
        <a:spcBef>
          <a:spcPct val="0"/>
        </a:spcBef>
        <a:spcAft>
          <a:spcPct val="0"/>
        </a:spcAft>
        <a:defRPr sz="2300">
          <a:solidFill>
            <a:srgbClr val="00009B"/>
          </a:solidFill>
          <a:latin typeface="Neutraface Text Book" charset="0"/>
          <a:ea typeface="ヒラギノ角ゴ ProN W3" charset="0"/>
          <a:cs typeface="ヒラギノ角ゴ ProN W3" charset="0"/>
          <a:sym typeface="Neutraface Text Book" charset="0"/>
        </a:defRPr>
      </a:lvl7pPr>
      <a:lvl8pPr marL="1052298" algn="l" rtl="0" fontAlgn="base">
        <a:lnSpc>
          <a:spcPct val="80000"/>
        </a:lnSpc>
        <a:spcBef>
          <a:spcPct val="0"/>
        </a:spcBef>
        <a:spcAft>
          <a:spcPct val="0"/>
        </a:spcAft>
        <a:defRPr sz="2300">
          <a:solidFill>
            <a:srgbClr val="00009B"/>
          </a:solidFill>
          <a:latin typeface="Neutraface Text Book" charset="0"/>
          <a:ea typeface="ヒラギノ角ゴ ProN W3" charset="0"/>
          <a:cs typeface="ヒラギノ角ゴ ProN W3" charset="0"/>
          <a:sym typeface="Neutraface Text Book" charset="0"/>
        </a:defRPr>
      </a:lvl8pPr>
      <a:lvl9pPr marL="1389033" algn="l" rtl="0" fontAlgn="base">
        <a:lnSpc>
          <a:spcPct val="80000"/>
        </a:lnSpc>
        <a:spcBef>
          <a:spcPct val="0"/>
        </a:spcBef>
        <a:spcAft>
          <a:spcPct val="0"/>
        </a:spcAft>
        <a:defRPr sz="2300">
          <a:solidFill>
            <a:srgbClr val="00009B"/>
          </a:solidFill>
          <a:latin typeface="Neutraface Text Book" charset="0"/>
          <a:ea typeface="ヒラギノ角ゴ ProN W3" charset="0"/>
          <a:cs typeface="ヒラギノ角ゴ ProN W3" charset="0"/>
          <a:sym typeface="Neutraface Text Book" charset="0"/>
        </a:defRPr>
      </a:lvl9pPr>
    </p:titleStyle>
    <p:bodyStyle>
      <a:lvl1pPr marL="0" indent="-185717" algn="l" rtl="0" eaLnBrk="0" fontAlgn="base" hangingPunct="0">
        <a:lnSpc>
          <a:spcPct val="150000"/>
        </a:lnSpc>
        <a:spcBef>
          <a:spcPts val="600"/>
        </a:spcBef>
        <a:spcAft>
          <a:spcPts val="600"/>
        </a:spcAft>
        <a:buClr>
          <a:srgbClr val="00009B"/>
        </a:buClr>
        <a:buSzPct val="125000"/>
        <a:buFont typeface="Neutraface Text Book" charset="0"/>
        <a:buNone/>
        <a:defRPr sz="1800" b="0" i="0">
          <a:solidFill>
            <a:srgbClr val="271F2E"/>
          </a:solidFill>
          <a:latin typeface="Source Sans Pro Light"/>
          <a:ea typeface="+mn-ea"/>
          <a:cs typeface="Source Sans Pro Light"/>
          <a:sym typeface="Neutraface Text Book" charset="0"/>
        </a:defRPr>
      </a:lvl1pPr>
      <a:lvl2pPr marL="0" indent="-185717" algn="l" rtl="0" eaLnBrk="0" fontAlgn="base" hangingPunct="0">
        <a:lnSpc>
          <a:spcPct val="150000"/>
        </a:lnSpc>
        <a:spcBef>
          <a:spcPts val="600"/>
        </a:spcBef>
        <a:spcAft>
          <a:spcPts val="600"/>
        </a:spcAft>
        <a:buClr>
          <a:srgbClr val="00009B"/>
        </a:buClr>
        <a:buSzPct val="125000"/>
        <a:buFont typeface="Neutraface Text Book" charset="0"/>
        <a:buNone/>
        <a:defRPr sz="1800" b="0" i="0">
          <a:solidFill>
            <a:srgbClr val="271F2E"/>
          </a:solidFill>
          <a:latin typeface="Source Sans Pro Light"/>
          <a:ea typeface="+mn-ea"/>
          <a:cs typeface="Source Sans Pro Light"/>
          <a:sym typeface="Neutraface Text Book" charset="0"/>
        </a:defRPr>
      </a:lvl2pPr>
      <a:lvl3pPr marL="0" indent="-228574" algn="l" rtl="0" eaLnBrk="0" fontAlgn="base" hangingPunct="0">
        <a:lnSpc>
          <a:spcPct val="150000"/>
        </a:lnSpc>
        <a:spcBef>
          <a:spcPts val="600"/>
        </a:spcBef>
        <a:spcAft>
          <a:spcPts val="600"/>
        </a:spcAft>
        <a:buClr>
          <a:srgbClr val="271F2E"/>
        </a:buClr>
        <a:buSzPct val="125000"/>
        <a:buFont typeface="Neutraface Text Book" charset="0"/>
        <a:buNone/>
        <a:defRPr sz="1800" b="0" i="0">
          <a:solidFill>
            <a:srgbClr val="271F2E"/>
          </a:solidFill>
          <a:latin typeface="Source Sans Pro Light"/>
          <a:ea typeface="+mn-ea"/>
          <a:cs typeface="Source Sans Pro Light"/>
          <a:sym typeface="Neutraface Text Book" charset="0"/>
        </a:defRPr>
      </a:lvl3pPr>
      <a:lvl4pPr marL="0" indent="-228574" algn="l" rtl="0" eaLnBrk="0" fontAlgn="base" hangingPunct="0">
        <a:lnSpc>
          <a:spcPct val="150000"/>
        </a:lnSpc>
        <a:spcBef>
          <a:spcPts val="600"/>
        </a:spcBef>
        <a:spcAft>
          <a:spcPts val="600"/>
        </a:spcAft>
        <a:buClr>
          <a:srgbClr val="271F2E"/>
        </a:buClr>
        <a:buSzPct val="125000"/>
        <a:buFont typeface="Neutraface Text Book" charset="0"/>
        <a:buNone/>
        <a:defRPr sz="1800" b="0" i="0">
          <a:solidFill>
            <a:srgbClr val="271F2E"/>
          </a:solidFill>
          <a:latin typeface="Source Sans Pro Light"/>
          <a:ea typeface="+mn-ea"/>
          <a:cs typeface="Source Sans Pro Light"/>
          <a:sym typeface="Neutraface Text Book" charset="0"/>
        </a:defRPr>
      </a:lvl4pPr>
      <a:lvl5pPr marL="0" marR="0" indent="-228574" algn="l" defTabSz="914296" rtl="0" eaLnBrk="0" fontAlgn="base" latinLnBrk="0" hangingPunct="0">
        <a:lnSpc>
          <a:spcPct val="150000"/>
        </a:lnSpc>
        <a:spcBef>
          <a:spcPts val="600"/>
        </a:spcBef>
        <a:spcAft>
          <a:spcPts val="600"/>
        </a:spcAft>
        <a:buClr>
          <a:srgbClr val="271F2E"/>
        </a:buClr>
        <a:buSzPct val="125000"/>
        <a:buFont typeface="Neutraface Text Book" charset="0"/>
        <a:buNone/>
        <a:tabLst/>
        <a:defRPr sz="1800" b="0" i="0" baseline="0">
          <a:solidFill>
            <a:srgbClr val="271F2E"/>
          </a:solidFill>
          <a:latin typeface="Source Sans Pro Light"/>
          <a:ea typeface="+mn-ea"/>
          <a:cs typeface="Source Sans Pro Light"/>
          <a:sym typeface="Neutraface Text Book" charset="0"/>
        </a:defRPr>
      </a:lvl5pPr>
      <a:lvl6pPr marL="336736" algn="l" rtl="0" fontAlgn="base">
        <a:lnSpc>
          <a:spcPct val="80000"/>
        </a:lnSpc>
        <a:spcBef>
          <a:spcPts val="516"/>
        </a:spcBef>
        <a:spcAft>
          <a:spcPct val="0"/>
        </a:spcAft>
        <a:buClr>
          <a:srgbClr val="271F2E"/>
        </a:buClr>
        <a:buSzPct val="125000"/>
        <a:buFont typeface="Neutraface Text Book" charset="0"/>
        <a:buChar char="•"/>
        <a:defRPr sz="1100">
          <a:solidFill>
            <a:srgbClr val="271F2E"/>
          </a:solidFill>
          <a:latin typeface="+mn-lt"/>
          <a:ea typeface="+mn-ea"/>
          <a:cs typeface="+mn-cs"/>
          <a:sym typeface="Neutraface Text Book" charset="0"/>
        </a:defRPr>
      </a:lvl6pPr>
      <a:lvl7pPr marL="673471" algn="l" rtl="0" fontAlgn="base">
        <a:lnSpc>
          <a:spcPct val="80000"/>
        </a:lnSpc>
        <a:spcBef>
          <a:spcPts val="516"/>
        </a:spcBef>
        <a:spcAft>
          <a:spcPct val="0"/>
        </a:spcAft>
        <a:buClr>
          <a:srgbClr val="271F2E"/>
        </a:buClr>
        <a:buSzPct val="125000"/>
        <a:buFont typeface="Neutraface Text Book" charset="0"/>
        <a:buChar char="•"/>
        <a:defRPr sz="1100">
          <a:solidFill>
            <a:srgbClr val="271F2E"/>
          </a:solidFill>
          <a:latin typeface="+mn-lt"/>
          <a:ea typeface="+mn-ea"/>
          <a:cs typeface="+mn-cs"/>
          <a:sym typeface="Neutraface Text Book" charset="0"/>
        </a:defRPr>
      </a:lvl7pPr>
      <a:lvl8pPr marL="1010207" algn="l" rtl="0" fontAlgn="base">
        <a:lnSpc>
          <a:spcPct val="80000"/>
        </a:lnSpc>
        <a:spcBef>
          <a:spcPts val="516"/>
        </a:spcBef>
        <a:spcAft>
          <a:spcPct val="0"/>
        </a:spcAft>
        <a:buClr>
          <a:srgbClr val="271F2E"/>
        </a:buClr>
        <a:buSzPct val="125000"/>
        <a:buFont typeface="Neutraface Text Book" charset="0"/>
        <a:buChar char="•"/>
        <a:defRPr sz="1100">
          <a:solidFill>
            <a:srgbClr val="271F2E"/>
          </a:solidFill>
          <a:latin typeface="+mn-lt"/>
          <a:ea typeface="+mn-ea"/>
          <a:cs typeface="+mn-cs"/>
          <a:sym typeface="Neutraface Text Book" charset="0"/>
        </a:defRPr>
      </a:lvl8pPr>
      <a:lvl9pPr marL="1346941" algn="l" rtl="0" fontAlgn="base">
        <a:lnSpc>
          <a:spcPct val="80000"/>
        </a:lnSpc>
        <a:spcBef>
          <a:spcPts val="516"/>
        </a:spcBef>
        <a:spcAft>
          <a:spcPct val="0"/>
        </a:spcAft>
        <a:buClr>
          <a:srgbClr val="271F2E"/>
        </a:buClr>
        <a:buSzPct val="125000"/>
        <a:buFont typeface="Neutraface Text Book" charset="0"/>
        <a:buChar char="•"/>
        <a:defRPr sz="1100">
          <a:solidFill>
            <a:srgbClr val="271F2E"/>
          </a:solidFill>
          <a:latin typeface="+mn-lt"/>
          <a:ea typeface="+mn-ea"/>
          <a:cs typeface="+mn-cs"/>
          <a:sym typeface="Neutraface Text Book" charset="0"/>
        </a:defRPr>
      </a:lvl9pPr>
    </p:bodyStyle>
    <p:otherStyle>
      <a:defPPr>
        <a:defRPr lang="de-DE"/>
      </a:defPPr>
      <a:lvl1pPr marL="0" algn="l" defTabSz="33673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36736" algn="l" defTabSz="33673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73471" algn="l" defTabSz="33673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010207" algn="l" defTabSz="33673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46941" algn="l" defTabSz="33673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683676" algn="l" defTabSz="33673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020411" algn="l" defTabSz="33673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357147" algn="l" defTabSz="33673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693882" algn="l" defTabSz="33673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3.xml"/><Relationship Id="rId1" Type="http://schemas.openxmlformats.org/officeDocument/2006/relationships/tags" Target="../tags/tag3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5.xml"/><Relationship Id="rId1" Type="http://schemas.openxmlformats.org/officeDocument/2006/relationships/tags" Target="../tags/tag3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6.png"/><Relationship Id="rId4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0.xml"/><Relationship Id="rId1" Type="http://schemas.openxmlformats.org/officeDocument/2006/relationships/tags" Target="../tags/tag3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2.xml"/><Relationship Id="rId1" Type="http://schemas.openxmlformats.org/officeDocument/2006/relationships/tags" Target="../tags/tag4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4" Type="http://schemas.openxmlformats.org/officeDocument/2006/relationships/image" Target="../media/image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8.PNG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4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0.xml"/><Relationship Id="rId1" Type="http://schemas.openxmlformats.org/officeDocument/2006/relationships/tags" Target="../tags/tag4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4" Type="http://schemas.openxmlformats.org/officeDocument/2006/relationships/notesSlide" Target="../notesSlides/notesSlide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4.xml"/><Relationship Id="rId1" Type="http://schemas.openxmlformats.org/officeDocument/2006/relationships/tags" Target="../tags/tag5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1.xml"/><Relationship Id="rId1" Type="http://schemas.openxmlformats.org/officeDocument/2006/relationships/tags" Target="../tags/tag10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4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4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3.xml"/><Relationship Id="rId1" Type="http://schemas.openxmlformats.org/officeDocument/2006/relationships/tags" Target="../tags/tag1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6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5" Type="http://schemas.openxmlformats.org/officeDocument/2006/relationships/tags" Target="../tags/tag18.xml"/><Relationship Id="rId4" Type="http://schemas.openxmlformats.org/officeDocument/2006/relationships/tags" Target="../tags/tag17.xml"/><Relationship Id="rId9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1.xml"/><Relationship Id="rId1" Type="http://schemas.openxmlformats.org/officeDocument/2006/relationships/tags" Target="../tags/tag2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3.xml"/><Relationship Id="rId1" Type="http://schemas.openxmlformats.org/officeDocument/2006/relationships/tags" Target="../tags/tag2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4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8.xml"/><Relationship Id="rId1" Type="http://schemas.openxmlformats.org/officeDocument/2006/relationships/tags" Target="../tags/tag2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5.png"/><Relationship Id="rId4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60512" y="1987700"/>
            <a:ext cx="9100873" cy="1945356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GB" dirty="0" smtClean="0"/>
              <a:t>Mapping customers</a:t>
            </a:r>
            <a:r>
              <a:rPr lang="en-US" dirty="0" smtClean="0">
                <a:latin typeface="Source Sans Pro Bold"/>
                <a:cs typeface="Source Sans Pro Bold"/>
              </a:rPr>
              <a:t/>
            </a:r>
            <a:br>
              <a:rPr lang="en-US" dirty="0" smtClean="0">
                <a:latin typeface="Source Sans Pro Bold"/>
                <a:cs typeface="Source Sans Pro Bold"/>
              </a:rPr>
            </a:br>
            <a:r>
              <a:rPr lang="en-US" sz="1800" dirty="0" smtClean="0">
                <a:latin typeface="Source Sans Pro Light" panose="020B0403030403020204" pitchFamily="34" charset="0"/>
              </a:rPr>
              <a:t>A guide to interactive thematic maps for marketing analytics</a:t>
            </a:r>
            <a:endParaRPr lang="en-US" sz="1800" dirty="0">
              <a:latin typeface="Source Sans Pro Light" panose="020B0403030403020204" pitchFamily="34" charset="0"/>
            </a:endParaRPr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CH" dirty="0"/>
              <a:t>andrea.bublitz@uzh.ch</a:t>
            </a:r>
          </a:p>
        </p:txBody>
      </p:sp>
      <p:sp>
        <p:nvSpPr>
          <p:cNvPr id="6" name="Rectangle 7"/>
          <p:cNvSpPr/>
          <p:nvPr>
            <p:custDataLst>
              <p:tags r:id="rId1"/>
            </p:custDataLst>
          </p:nvPr>
        </p:nvSpPr>
        <p:spPr bwMode="auto">
          <a:xfrm>
            <a:off x="0" y="6597352"/>
            <a:ext cx="9906000" cy="26064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29" tIns="0" rIns="91429" bIns="45715" numCol="1" rtlCol="0" anchor="t" anchorCtr="0" compatLnSpc="1">
            <a:prstTxWarp prst="textNoShape">
              <a:avLst/>
            </a:prstTxWarp>
          </a:bodyPr>
          <a:lstStyle/>
          <a:p>
            <a:r>
              <a:rPr lang="en-US" sz="1200" dirty="0" smtClean="0">
                <a:solidFill>
                  <a:schemeClr val="tx1"/>
                </a:solidFill>
                <a:latin typeface="Source Sans Pro Light" panose="020B0403030403020204" pitchFamily="34" charset="0"/>
                <a:cs typeface="Source Sans Pro"/>
              </a:rPr>
              <a:t>Mapping customers</a:t>
            </a:r>
            <a:endParaRPr lang="en-US" sz="1200" dirty="0">
              <a:solidFill>
                <a:schemeClr val="tx1"/>
              </a:solidFill>
              <a:latin typeface="Source Sans Pro Light" panose="020B0403030403020204" pitchFamily="34" charset="0"/>
              <a:cs typeface="Source Sans Pro"/>
            </a:endParaRPr>
          </a:p>
        </p:txBody>
      </p:sp>
      <p:sp>
        <p:nvSpPr>
          <p:cNvPr id="7" name="Rectangle 7"/>
          <p:cNvSpPr/>
          <p:nvPr>
            <p:custDataLst>
              <p:tags r:id="rId2"/>
            </p:custDataLst>
          </p:nvPr>
        </p:nvSpPr>
        <p:spPr bwMode="auto">
          <a:xfrm>
            <a:off x="5680248" y="6597352"/>
            <a:ext cx="4241304" cy="26064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29" tIns="0" rIns="91429" bIns="45715" numCol="1" rtlCol="0" anchor="t" anchorCtr="0" compatLnSpc="1">
            <a:prstTxWarp prst="textNoShape">
              <a:avLst/>
            </a:prstTxWarp>
          </a:bodyPr>
          <a:lstStyle/>
          <a:p>
            <a:pPr algn="r"/>
            <a:r>
              <a:rPr lang="en-US" sz="1200" dirty="0">
                <a:solidFill>
                  <a:schemeClr val="tx1"/>
                </a:solidFill>
                <a:latin typeface="Source Sans Pro Light" panose="020B0403030403020204" pitchFamily="34" charset="0"/>
                <a:cs typeface="Source Sans Pro"/>
                <a:sym typeface="Monotype Sorts"/>
              </a:rPr>
              <a:t>S</a:t>
            </a:r>
            <a:r>
              <a:rPr lang="en-US" sz="1200" dirty="0" smtClean="0">
                <a:solidFill>
                  <a:schemeClr val="tx1"/>
                </a:solidFill>
                <a:latin typeface="Source Sans Pro Light" panose="020B0403030403020204" pitchFamily="34" charset="0"/>
                <a:cs typeface="Source Sans Pro"/>
                <a:sym typeface="Monotype Sorts"/>
              </a:rPr>
              <a:t>alome </a:t>
            </a:r>
            <a:r>
              <a:rPr lang="en-US" sz="1200" dirty="0">
                <a:solidFill>
                  <a:schemeClr val="tx1"/>
                </a:solidFill>
                <a:latin typeface="Source Sans Pro Light" panose="020B0403030403020204" pitchFamily="34" charset="0"/>
                <a:cs typeface="Source Sans Pro"/>
                <a:sym typeface="Monotype Sorts"/>
              </a:rPr>
              <a:t>Lang</a:t>
            </a:r>
            <a:endParaRPr lang="en-US" sz="1200" dirty="0">
              <a:solidFill>
                <a:schemeClr val="tx1"/>
              </a:solidFill>
              <a:latin typeface="Source Sans Pro Light" panose="020B0403030403020204" pitchFamily="34" charset="0"/>
              <a:cs typeface="Sourc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118447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pping Customers</a:t>
            </a:r>
            <a:r>
              <a:rPr lang="en-US" dirty="0" smtClean="0">
                <a:latin typeface="Source Sans Pro Semibold"/>
                <a:cs typeface="Source Sans Pro Semibold"/>
              </a:rPr>
              <a:t/>
            </a:r>
            <a:br>
              <a:rPr lang="en-US" dirty="0" smtClean="0">
                <a:latin typeface="Source Sans Pro Semibold"/>
                <a:cs typeface="Source Sans Pro Semibold"/>
              </a:rPr>
            </a:br>
            <a:r>
              <a:rPr lang="en-US" b="1" dirty="0" smtClean="0">
                <a:latin typeface="Source Sans Pro Semibold"/>
                <a:cs typeface="Source Sans Pro Semibold"/>
              </a:rPr>
              <a:t>Agenda</a:t>
            </a:r>
            <a:endParaRPr lang="en-US" b="1" dirty="0">
              <a:latin typeface="Source Sans Pro Semibold"/>
              <a:cs typeface="Source Sans Pro Semibold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9125" y="1564803"/>
            <a:ext cx="8667750" cy="4384477"/>
          </a:xfrm>
        </p:spPr>
        <p:txBody>
          <a:bodyPr/>
          <a:lstStyle/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>
                <a:sym typeface="Monotype Sorts"/>
              </a:rPr>
              <a:t>	</a:t>
            </a:r>
            <a:r>
              <a:rPr lang="en-US" dirty="0">
                <a:sym typeface="Monotype Sorts"/>
              </a:rPr>
              <a:t>  Research Question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>
                <a:latin typeface="Source Sans Pro Bold" panose="020B0703030403020204" pitchFamily="34" charset="0"/>
                <a:sym typeface="Monotype Sorts"/>
              </a:rPr>
              <a:t>	  </a:t>
            </a:r>
            <a:r>
              <a:rPr lang="en-US" dirty="0"/>
              <a:t>Introduction to Mapping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  <a:tabLst>
                <a:tab pos="444450" algn="l"/>
              </a:tabLst>
            </a:pPr>
            <a:r>
              <a:rPr lang="en-US" dirty="0">
                <a:latin typeface="Source Sans Pro Bold" panose="020B0703030403020204" pitchFamily="34" charset="0"/>
                <a:sym typeface="Monotype Sorts"/>
              </a:rPr>
              <a:t>	</a:t>
            </a:r>
            <a:r>
              <a:rPr lang="en-US" dirty="0">
                <a:latin typeface="Source Sans Pro Bold" panose="020B0703030403020204" pitchFamily="34" charset="0"/>
              </a:rPr>
              <a:t>Data Screening &amp; Descriptives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  <a:tabLst>
                <a:tab pos="444450" algn="l"/>
              </a:tabLst>
            </a:pPr>
            <a:r>
              <a:rPr lang="en-US" dirty="0" smtClean="0"/>
              <a:t>§	</a:t>
            </a:r>
            <a:r>
              <a:rPr lang="en-US" dirty="0"/>
              <a:t>Implementation in R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  <a:tabLst>
                <a:tab pos="444450" algn="l"/>
              </a:tabLst>
            </a:pPr>
            <a:r>
              <a:rPr lang="en-US" dirty="0">
                <a:sym typeface="Monotype Sorts"/>
              </a:rPr>
              <a:t>	</a:t>
            </a:r>
            <a:r>
              <a:rPr lang="en-US" dirty="0" smtClean="0">
                <a:sym typeface="Monotype Sorts"/>
              </a:rPr>
              <a:t>Summary</a:t>
            </a:r>
            <a:endParaRPr lang="en-US" dirty="0">
              <a:sym typeface="Monotype Sorts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  <a:tabLst>
                <a:tab pos="444450" algn="l"/>
              </a:tabLst>
            </a:pPr>
            <a:r>
              <a:rPr lang="de-CH" dirty="0" smtClean="0">
                <a:latin typeface="Source Sans Pro Light" panose="020B0403030403020204" pitchFamily="34" charset="0"/>
              </a:rPr>
              <a:t>	References</a:t>
            </a:r>
            <a:endParaRPr lang="en-US" dirty="0" smtClean="0">
              <a:latin typeface="Source Sans Pro Light" panose="020B0403030403020204" pitchFamily="34" charset="0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  <a:tabLst>
                <a:tab pos="444450" algn="l"/>
              </a:tabLst>
            </a:pPr>
            <a:r>
              <a:rPr lang="en-US" dirty="0">
                <a:sym typeface="Monotype Sorts"/>
              </a:rPr>
              <a:t>	</a:t>
            </a:r>
            <a:endParaRPr lang="en-US" dirty="0"/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  <a:tabLst>
                <a:tab pos="444450" algn="l"/>
              </a:tabLst>
            </a:pPr>
            <a:endParaRPr lang="en-US" dirty="0" smtClean="0"/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  <a:tabLst>
                <a:tab pos="444450" algn="l"/>
              </a:tabLst>
            </a:pPr>
            <a:endParaRPr lang="en-US" dirty="0"/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  <a:tabLst>
                <a:tab pos="444450" algn="l"/>
              </a:tabLst>
            </a:pPr>
            <a:r>
              <a:rPr lang="en-US" sz="2200" dirty="0">
                <a:sym typeface="Monotype Sorts"/>
              </a:rPr>
              <a:t>	</a:t>
            </a:r>
            <a:endParaRPr lang="en-US" dirty="0"/>
          </a:p>
          <a:p>
            <a:pPr marL="0" indent="0">
              <a:spcAft>
                <a:spcPts val="1200"/>
              </a:spcAft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dirty="0" smtClean="0"/>
              <a:t> </a:t>
            </a:r>
            <a:endParaRPr lang="en-US" dirty="0"/>
          </a:p>
        </p:txBody>
      </p:sp>
      <p:sp>
        <p:nvSpPr>
          <p:cNvPr id="24" name="Rectangle 23"/>
          <p:cNvSpPr/>
          <p:nvPr/>
        </p:nvSpPr>
        <p:spPr bwMode="auto">
          <a:xfrm>
            <a:off x="0" y="2"/>
            <a:ext cx="256928" cy="1196975"/>
          </a:xfrm>
          <a:prstGeom prst="rect">
            <a:avLst/>
          </a:prstGeom>
          <a:solidFill>
            <a:schemeClr val="accent6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29" tIns="45715" rIns="91429" bIns="45715" numCol="1" rtlCol="0" anchor="t" anchorCtr="0" compatLnSpc="1">
            <a:prstTxWarp prst="textNoShape">
              <a:avLst/>
            </a:prstTxWarp>
          </a:bodyPr>
          <a:lstStyle/>
          <a:p>
            <a:pPr defTabSz="914296"/>
            <a:endParaRPr lang="en-US" sz="2300" dirty="0">
              <a:latin typeface="Source Sans Pro Light"/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CH" b="1" dirty="0" smtClean="0">
                <a:solidFill>
                  <a:schemeClr val="bg1"/>
                </a:solidFill>
              </a:rPr>
              <a:t>Outline</a:t>
            </a:r>
            <a:endParaRPr lang="de-CH" b="1" dirty="0">
              <a:solidFill>
                <a:schemeClr val="bg1"/>
              </a:solidFill>
            </a:endParaRPr>
          </a:p>
        </p:txBody>
      </p:sp>
      <p:sp>
        <p:nvSpPr>
          <p:cNvPr id="6" name="Ellipse 5"/>
          <p:cNvSpPr/>
          <p:nvPr/>
        </p:nvSpPr>
        <p:spPr bwMode="auto">
          <a:xfrm>
            <a:off x="619125" y="2115750"/>
            <a:ext cx="288000" cy="288000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600" b="1" i="0" u="none" strike="noStrike" normalizeH="0" baseline="0" dirty="0" smtClean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Source Sans Pro Light" panose="020B0403030403020204" pitchFamily="34" charset="0"/>
                <a:sym typeface="Neutraface Text Book" charset="0"/>
              </a:rPr>
              <a:t>2</a:t>
            </a:r>
            <a:endParaRPr kumimoji="0" lang="de-CH" sz="1600" b="1" i="0" u="none" strike="noStrike" normalizeH="0" baseline="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Source Sans Pro Light" panose="020B0403030403020204" pitchFamily="34" charset="0"/>
              <a:sym typeface="Neutraface Text Book" charset="0"/>
            </a:endParaRPr>
          </a:p>
        </p:txBody>
      </p:sp>
      <p:sp>
        <p:nvSpPr>
          <p:cNvPr id="11" name="Ellipse 10"/>
          <p:cNvSpPr/>
          <p:nvPr/>
        </p:nvSpPr>
        <p:spPr bwMode="auto">
          <a:xfrm>
            <a:off x="616810" y="1700808"/>
            <a:ext cx="288000" cy="288000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600" b="1" i="0" u="none" strike="noStrike" normalizeH="0" baseline="0" dirty="0" smtClean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Source Sans Pro Light" panose="020B0403030403020204" pitchFamily="34" charset="0"/>
                <a:sym typeface="Neutraface Text Book" charset="0"/>
              </a:rPr>
              <a:t>1</a:t>
            </a:r>
            <a:endParaRPr kumimoji="0" lang="de-CH" sz="1600" b="1" i="0" u="none" strike="noStrike" normalizeH="0" baseline="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Source Sans Pro Light" panose="020B0403030403020204" pitchFamily="34" charset="0"/>
              <a:sym typeface="Neutraface Text Book" charset="0"/>
            </a:endParaRPr>
          </a:p>
        </p:txBody>
      </p:sp>
      <p:sp>
        <p:nvSpPr>
          <p:cNvPr id="13" name="Ellipse 12"/>
          <p:cNvSpPr/>
          <p:nvPr/>
        </p:nvSpPr>
        <p:spPr bwMode="auto">
          <a:xfrm>
            <a:off x="619125" y="2945991"/>
            <a:ext cx="288000" cy="288000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600" b="1" i="0" u="none" strike="noStrike" normalizeH="0" baseline="0" dirty="0" smtClean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Source Sans Pro Light" panose="020B0403030403020204" pitchFamily="34" charset="0"/>
                <a:sym typeface="Neutraface Text Book" charset="0"/>
              </a:rPr>
              <a:t>4</a:t>
            </a:r>
            <a:endParaRPr kumimoji="0" lang="de-CH" sz="1600" b="1" i="0" u="none" strike="noStrike" normalizeH="0" baseline="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Source Sans Pro Light" panose="020B0403030403020204" pitchFamily="34" charset="0"/>
              <a:sym typeface="Neutraface Text Book" charset="0"/>
            </a:endParaRPr>
          </a:p>
        </p:txBody>
      </p:sp>
      <p:grpSp>
        <p:nvGrpSpPr>
          <p:cNvPr id="17" name="Gruppieren 16"/>
          <p:cNvGrpSpPr/>
          <p:nvPr/>
        </p:nvGrpSpPr>
        <p:grpSpPr>
          <a:xfrm>
            <a:off x="0" y="6598784"/>
            <a:ext cx="9914384" cy="260648"/>
            <a:chOff x="0" y="6598784"/>
            <a:chExt cx="9914384" cy="260648"/>
          </a:xfrm>
        </p:grpSpPr>
        <p:grpSp>
          <p:nvGrpSpPr>
            <p:cNvPr id="18" name="Gruppieren 17"/>
            <p:cNvGrpSpPr/>
            <p:nvPr/>
          </p:nvGrpSpPr>
          <p:grpSpPr>
            <a:xfrm>
              <a:off x="0" y="6598784"/>
              <a:ext cx="9914384" cy="260648"/>
              <a:chOff x="0" y="6598784"/>
              <a:chExt cx="9914384" cy="260648"/>
            </a:xfrm>
          </p:grpSpPr>
          <p:sp>
            <p:nvSpPr>
              <p:cNvPr id="21" name="Rectangle 7"/>
              <p:cNvSpPr/>
              <p:nvPr>
                <p:custDataLst>
                  <p:tags r:id="rId1"/>
                </p:custDataLst>
              </p:nvPr>
            </p:nvSpPr>
            <p:spPr bwMode="auto">
              <a:xfrm>
                <a:off x="0" y="6614991"/>
                <a:ext cx="5601072" cy="243009"/>
              </a:xfrm>
              <a:prstGeom prst="rect">
                <a:avLst/>
              </a:prstGeom>
              <a:solidFill>
                <a:schemeClr val="tx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29" tIns="0" rIns="91429" bIns="45715" numCol="1" rtlCol="0" anchor="t" anchorCtr="0" compatLnSpc="1">
                <a:prstTxWarp prst="textNoShape">
                  <a:avLst/>
                </a:prstTxWarp>
              </a:bodyPr>
              <a:lstStyle/>
              <a:p>
                <a:r>
                  <a:rPr lang="en-US" sz="1200" dirty="0" smtClean="0">
                    <a:solidFill>
                      <a:schemeClr val="bg1">
                        <a:lumMod val="75000"/>
                      </a:schemeClr>
                    </a:solidFill>
                    <a:latin typeface="Source Sans Pro Light" panose="020B0403030403020204" pitchFamily="34" charset="0"/>
                    <a:cs typeface="Source Sans Pro Light"/>
                  </a:rPr>
                  <a:t>Mapping Customers |       Data Screening &amp; Descriptives</a:t>
                </a:r>
                <a:endParaRPr lang="en-US" sz="1200" dirty="0">
                  <a:solidFill>
                    <a:schemeClr val="bg1">
                      <a:lumMod val="75000"/>
                    </a:schemeClr>
                  </a:solidFill>
                  <a:latin typeface="Source Sans Pro Light" panose="020B0403030403020204" pitchFamily="34" charset="0"/>
                  <a:cs typeface="Source Sans Pro"/>
                </a:endParaRPr>
              </a:p>
            </p:txBody>
          </p:sp>
          <p:sp>
            <p:nvSpPr>
              <p:cNvPr id="20" name="Rectangle 7"/>
              <p:cNvSpPr/>
              <p:nvPr>
                <p:custDataLst>
                  <p:tags r:id="rId2"/>
                </p:custDataLst>
              </p:nvPr>
            </p:nvSpPr>
            <p:spPr bwMode="auto">
              <a:xfrm>
                <a:off x="5673080" y="6598784"/>
                <a:ext cx="4241304" cy="260648"/>
              </a:xfrm>
              <a:prstGeom prst="rect">
                <a:avLst/>
              </a:prstGeom>
              <a:solidFill>
                <a:schemeClr val="tx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29" tIns="0" rIns="91429" bIns="45715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r"/>
                <a:r>
                  <a:rPr lang="en-US" sz="1200" dirty="0" smtClean="0">
                    <a:solidFill>
                      <a:schemeClr val="bg1">
                        <a:lumMod val="75000"/>
                      </a:schemeClr>
                    </a:solidFill>
                    <a:latin typeface="Source Sans Pro Light" panose="020B0403030403020204" pitchFamily="34" charset="0"/>
                    <a:cs typeface="Source Sans Pro"/>
                    <a:sym typeface="Monotype Sorts"/>
                  </a:rPr>
                  <a:t>Salome </a:t>
                </a:r>
                <a:r>
                  <a:rPr lang="en-US" sz="1200" dirty="0">
                    <a:solidFill>
                      <a:schemeClr val="bg1">
                        <a:lumMod val="75000"/>
                      </a:schemeClr>
                    </a:solidFill>
                    <a:latin typeface="Source Sans Pro Light" panose="020B0403030403020204" pitchFamily="34" charset="0"/>
                    <a:cs typeface="Source Sans Pro"/>
                    <a:sym typeface="Monotype Sorts"/>
                  </a:rPr>
                  <a:t>Lang</a:t>
                </a:r>
              </a:p>
            </p:txBody>
          </p:sp>
        </p:grpSp>
        <p:sp>
          <p:nvSpPr>
            <p:cNvPr id="23" name="Ellipse 22"/>
            <p:cNvSpPr/>
            <p:nvPr/>
          </p:nvSpPr>
          <p:spPr bwMode="auto">
            <a:xfrm>
              <a:off x="1460624" y="6655292"/>
              <a:ext cx="108000" cy="108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CH" sz="850" b="1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Source Sans Pro Light" panose="020B0403030403020204" pitchFamily="34" charset="0"/>
                </a:rPr>
                <a:t>3</a:t>
              </a:r>
              <a:endParaRPr kumimoji="0" lang="de-CH" sz="850" b="1" i="0" u="none" strike="noStrike" normalizeH="0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Source Sans Pro Light" panose="020B0403030403020204" pitchFamily="34" charset="0"/>
                <a:sym typeface="Neutraface Text Book" charset="0"/>
              </a:endParaRPr>
            </a:p>
          </p:txBody>
        </p:sp>
      </p:grpSp>
      <p:sp>
        <p:nvSpPr>
          <p:cNvPr id="22" name="Ellipse 21"/>
          <p:cNvSpPr/>
          <p:nvPr/>
        </p:nvSpPr>
        <p:spPr bwMode="auto">
          <a:xfrm>
            <a:off x="619125" y="2535971"/>
            <a:ext cx="288000" cy="288000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CH" sz="1600" b="1" dirty="0" smtClean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Source Sans Pro Light" panose="020B0403030403020204" pitchFamily="34" charset="0"/>
              </a:rPr>
              <a:t>3</a:t>
            </a:r>
            <a:endParaRPr kumimoji="0" lang="de-CH" sz="1600" b="1" i="0" u="none" strike="noStrike" normalizeH="0" baseline="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Source Sans Pro Light" panose="020B0403030403020204" pitchFamily="34" charset="0"/>
              <a:sym typeface="Neutraface Text Book" charset="0"/>
            </a:endParaRPr>
          </a:p>
        </p:txBody>
      </p:sp>
      <p:sp>
        <p:nvSpPr>
          <p:cNvPr id="37" name="Ellipse 36"/>
          <p:cNvSpPr/>
          <p:nvPr/>
        </p:nvSpPr>
        <p:spPr bwMode="auto">
          <a:xfrm>
            <a:off x="618904" y="3356992"/>
            <a:ext cx="288000" cy="288000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600" b="1" i="0" u="none" strike="noStrike" normalizeH="0" baseline="0" dirty="0" smtClean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Source Sans Pro Light" panose="020B0403030403020204" pitchFamily="34" charset="0"/>
                <a:sym typeface="Neutraface Text Book" charset="0"/>
              </a:rPr>
              <a:t>5</a:t>
            </a:r>
            <a:endParaRPr kumimoji="0" lang="de-CH" sz="1600" b="1" i="0" u="none" strike="noStrike" normalizeH="0" baseline="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Source Sans Pro Light" panose="020B0403030403020204" pitchFamily="34" charset="0"/>
              <a:sym typeface="Neutraface Text Book" charset="0"/>
            </a:endParaRPr>
          </a:p>
        </p:txBody>
      </p:sp>
      <p:sp>
        <p:nvSpPr>
          <p:cNvPr id="19" name="Ellipse 18"/>
          <p:cNvSpPr/>
          <p:nvPr/>
        </p:nvSpPr>
        <p:spPr bwMode="auto">
          <a:xfrm>
            <a:off x="618872" y="3777213"/>
            <a:ext cx="288000" cy="288000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CH" sz="1600" b="1" dirty="0" smtClean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Source Sans Pro Light" panose="020B0403030403020204" pitchFamily="34" charset="0"/>
              </a:rPr>
              <a:t>6</a:t>
            </a:r>
            <a:endParaRPr kumimoji="0" lang="de-CH" sz="1600" b="1" i="0" u="none" strike="noStrike" normalizeH="0" baseline="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Source Sans Pro Light" panose="020B0403030403020204" pitchFamily="34" charset="0"/>
              <a:sym typeface="Neutraface Text Boo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0062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To avoid pitfall I, we carefully screen the data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b="1" dirty="0" smtClean="0">
                <a:solidFill>
                  <a:schemeClr val="bg1"/>
                </a:solidFill>
              </a:rPr>
              <a:t>Screening</a:t>
            </a:r>
            <a:endParaRPr lang="en-GB" b="1" dirty="0">
              <a:solidFill>
                <a:schemeClr val="bg1"/>
              </a:solidFill>
            </a:endParaRPr>
          </a:p>
        </p:txBody>
      </p:sp>
      <p:graphicFrame>
        <p:nvGraphicFramePr>
          <p:cNvPr id="6" name="Table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45739763"/>
              </p:ext>
            </p:extLst>
          </p:nvPr>
        </p:nvGraphicFramePr>
        <p:xfrm>
          <a:off x="619125" y="1555750"/>
          <a:ext cx="8726362" cy="3115756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273992"/>
                <a:gridCol w="1273992"/>
                <a:gridCol w="1385600"/>
                <a:gridCol w="1217256"/>
                <a:gridCol w="1029986"/>
                <a:gridCol w="1404526"/>
                <a:gridCol w="1141010"/>
              </a:tblGrid>
              <a:tr h="368422">
                <a:tc rowSpan="2">
                  <a:txBody>
                    <a:bodyPr/>
                    <a:lstStyle/>
                    <a:p>
                      <a:pPr algn="ctr"/>
                      <a:r>
                        <a:rPr kumimoji="0" 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E6E6E6"/>
                          </a:solidFill>
                          <a:effectLst/>
                          <a:uLnTx/>
                          <a:uFillTx/>
                          <a:latin typeface="Source Sans Pro Light"/>
                        </a:rPr>
                        <a:t>Data Set</a:t>
                      </a:r>
                      <a:endParaRPr lang="en-GB" dirty="0"/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D8A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200" b="1" noProof="0" dirty="0" smtClean="0">
                          <a:solidFill>
                            <a:srgbClr val="E6E6E6"/>
                          </a:solidFill>
                          <a:latin typeface="Source Sans Pro Light"/>
                        </a:rPr>
                        <a:t>Variable</a:t>
                      </a:r>
                      <a:endParaRPr lang="en-US" sz="1200" b="1" noProof="0" dirty="0">
                        <a:solidFill>
                          <a:srgbClr val="E6E6E6"/>
                        </a:solidFill>
                        <a:latin typeface="Source Sans Pro Light"/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D8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200" b="1" noProof="0" dirty="0" smtClean="0">
                          <a:solidFill>
                            <a:srgbClr val="E6E6E6"/>
                          </a:solidFill>
                          <a:latin typeface="Source Sans Pro Light"/>
                        </a:rPr>
                        <a:t>Measurement</a:t>
                      </a:r>
                      <a:endParaRPr lang="en-US" sz="1200" b="1" noProof="0" dirty="0">
                        <a:solidFill>
                          <a:srgbClr val="E6E6E6"/>
                        </a:solidFill>
                        <a:latin typeface="Source Sans Pro Ligh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D8A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en-US" sz="1200" noProof="0" dirty="0">
                        <a:latin typeface="Source Sans Pro Light"/>
                      </a:endParaRPr>
                    </a:p>
                  </a:txBody>
                  <a:tcPr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en-US" sz="1200" noProof="0" dirty="0">
                        <a:latin typeface="Source Sans Pro Light"/>
                      </a:endParaRPr>
                    </a:p>
                  </a:txBody>
                  <a:tcPr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1" noProof="0" dirty="0" smtClean="0">
                          <a:solidFill>
                            <a:srgbClr val="E6E6E6"/>
                          </a:solidFill>
                          <a:latin typeface="Source Sans Pro Light"/>
                        </a:rPr>
                        <a:t>Descriptive Statistics</a:t>
                      </a:r>
                      <a:endParaRPr lang="en-US" sz="1200" b="1" noProof="0" dirty="0">
                        <a:solidFill>
                          <a:srgbClr val="E6E6E6"/>
                        </a:solidFill>
                        <a:latin typeface="Source Sans Pro Light"/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D8A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en-US" sz="1200" noProof="0" dirty="0">
                        <a:latin typeface="Source Sans Pro Light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367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 smtClean="0">
                          <a:solidFill>
                            <a:srgbClr val="E6E6E6"/>
                          </a:solidFill>
                          <a:latin typeface="Source Sans Pro Light"/>
                        </a:rPr>
                        <a:t>Range</a:t>
                      </a:r>
                      <a:endParaRPr lang="en-US" sz="1200" b="1" noProof="0" dirty="0">
                        <a:solidFill>
                          <a:srgbClr val="E6E6E6"/>
                        </a:solidFill>
                        <a:latin typeface="Source Sans Pro Light"/>
                      </a:endParaRPr>
                    </a:p>
                  </a:txBody>
                  <a:tcPr anchor="ctr">
                    <a:lnL w="12700" cmpd="sng"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D8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 smtClean="0">
                          <a:solidFill>
                            <a:srgbClr val="E6E6E6"/>
                          </a:solidFill>
                          <a:latin typeface="Source Sans Pro Light"/>
                        </a:rPr>
                        <a:t>Type</a:t>
                      </a:r>
                      <a:endParaRPr lang="en-US" sz="1200" b="1" noProof="0" dirty="0">
                        <a:solidFill>
                          <a:srgbClr val="E6E6E6"/>
                        </a:solidFill>
                        <a:latin typeface="Source Sans Pro Light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D8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 smtClean="0">
                          <a:solidFill>
                            <a:srgbClr val="E6E6E6"/>
                          </a:solidFill>
                          <a:latin typeface="Source Sans Pro Light"/>
                        </a:rPr>
                        <a:t>No. cases</a:t>
                      </a:r>
                      <a:endParaRPr lang="en-US" sz="1200" b="1" noProof="0" dirty="0">
                        <a:solidFill>
                          <a:srgbClr val="E6E6E6"/>
                        </a:solidFill>
                        <a:latin typeface="Source Sans Pro Light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D8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 smtClean="0">
                          <a:solidFill>
                            <a:srgbClr val="E6E6E6"/>
                          </a:solidFill>
                          <a:latin typeface="Source Sans Pro Light"/>
                        </a:rPr>
                        <a:t>No. missing values</a:t>
                      </a:r>
                      <a:endParaRPr lang="en-US" sz="1200" b="1" noProof="0" dirty="0">
                        <a:solidFill>
                          <a:srgbClr val="E6E6E6"/>
                        </a:solidFill>
                        <a:latin typeface="Source Sans Pro Light"/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D8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 smtClean="0">
                          <a:solidFill>
                            <a:srgbClr val="E6E6E6"/>
                          </a:solidFill>
                          <a:latin typeface="Source Sans Pro Light"/>
                        </a:rPr>
                        <a:t>Mean</a:t>
                      </a:r>
                      <a:endParaRPr lang="en-US" sz="1200" b="1" noProof="0" dirty="0">
                        <a:solidFill>
                          <a:srgbClr val="E6E6E6"/>
                        </a:solidFill>
                        <a:latin typeface="Source Sans Pro Ligh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D8A"/>
                    </a:solidFill>
                  </a:tcPr>
                </a:tc>
              </a:tr>
              <a:tr h="284207">
                <a:tc>
                  <a:txBody>
                    <a:bodyPr/>
                    <a:lstStyle/>
                    <a:p>
                      <a:pPr marL="0" algn="l" defTabSz="336736" rtl="0" eaLnBrk="1" latinLnBrk="0" hangingPunct="1"/>
                      <a:r>
                        <a:rPr lang="en-GB" sz="1200" kern="1200" dirty="0" smtClean="0">
                          <a:solidFill>
                            <a:schemeClr val="tx2"/>
                          </a:solidFill>
                          <a:latin typeface="Source Sans Pro Light"/>
                          <a:ea typeface="+mn-ea"/>
                          <a:cs typeface="+mn-cs"/>
                        </a:rPr>
                        <a:t>Customer data</a:t>
                      </a:r>
                      <a:endParaRPr lang="en-GB" sz="1200" kern="1200" dirty="0">
                        <a:solidFill>
                          <a:schemeClr val="tx2"/>
                        </a:solidFill>
                        <a:latin typeface="Source Sans Pro Ligh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noProof="0" dirty="0" smtClean="0">
                          <a:solidFill>
                            <a:schemeClr val="tx2"/>
                          </a:solidFill>
                          <a:latin typeface="Source Sans Pro Light"/>
                        </a:rPr>
                        <a:t>Customer</a:t>
                      </a:r>
                      <a:r>
                        <a:rPr lang="en-US" sz="1200" baseline="0" noProof="0" dirty="0" smtClean="0">
                          <a:solidFill>
                            <a:schemeClr val="tx2"/>
                          </a:solidFill>
                          <a:latin typeface="Source Sans Pro Light"/>
                        </a:rPr>
                        <a:t> ID</a:t>
                      </a:r>
                      <a:endParaRPr lang="en-US" sz="1200" noProof="0" dirty="0">
                        <a:solidFill>
                          <a:schemeClr val="tx2"/>
                        </a:solidFill>
                        <a:latin typeface="Source Sans Pro Light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dirty="0" smtClean="0">
                          <a:solidFill>
                            <a:schemeClr val="tx2"/>
                          </a:solidFill>
                          <a:latin typeface="Source Sans Pro Light"/>
                        </a:rPr>
                        <a:t>3493-902016</a:t>
                      </a:r>
                      <a:endParaRPr lang="en-US" sz="1200" noProof="0" dirty="0">
                        <a:solidFill>
                          <a:schemeClr val="tx2"/>
                        </a:solidFill>
                        <a:latin typeface="Source Sans Pro Ligh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dirty="0" smtClean="0">
                          <a:solidFill>
                            <a:schemeClr val="tx2"/>
                          </a:solidFill>
                          <a:latin typeface="Source Sans Pro Light"/>
                        </a:rPr>
                        <a:t>Integer</a:t>
                      </a:r>
                      <a:endParaRPr lang="en-US" sz="1200" noProof="0" dirty="0">
                        <a:solidFill>
                          <a:schemeClr val="tx2"/>
                        </a:solidFill>
                        <a:latin typeface="Source Sans Pro Light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smtClean="0">
                          <a:solidFill>
                            <a:schemeClr val="tx2"/>
                          </a:solidFill>
                          <a:latin typeface="Source Sans Pro Light"/>
                        </a:rPr>
                        <a:t>156321</a:t>
                      </a:r>
                      <a:endParaRPr lang="en-US" sz="1200" noProof="0" dirty="0" smtClean="0">
                        <a:solidFill>
                          <a:schemeClr val="tx2"/>
                        </a:solidFill>
                        <a:latin typeface="Source Sans Pro Light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dirty="0" smtClean="0">
                          <a:solidFill>
                            <a:schemeClr val="tx2"/>
                          </a:solidFill>
                          <a:latin typeface="Source Sans Pro Light"/>
                        </a:rPr>
                        <a:t>0</a:t>
                      </a:r>
                      <a:endParaRPr lang="en-US" sz="1200" noProof="0" dirty="0">
                        <a:solidFill>
                          <a:schemeClr val="tx2"/>
                        </a:solidFill>
                        <a:latin typeface="Source Sans Pro Light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dirty="0" smtClean="0">
                          <a:solidFill>
                            <a:schemeClr val="tx2"/>
                          </a:solidFill>
                          <a:latin typeface="Source Sans Pro Light"/>
                        </a:rPr>
                        <a:t>-</a:t>
                      </a:r>
                      <a:endParaRPr lang="en-US" sz="1200" noProof="0" dirty="0">
                        <a:solidFill>
                          <a:schemeClr val="tx2"/>
                        </a:solidFill>
                        <a:latin typeface="Source Sans Pro Ligh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</a:tr>
              <a:tr h="284207">
                <a:tc>
                  <a:txBody>
                    <a:bodyPr/>
                    <a:lstStyle/>
                    <a:p>
                      <a:pPr marL="0" algn="l" defTabSz="336736" rtl="0" eaLnBrk="1" latinLnBrk="0" hangingPunct="1"/>
                      <a:endParaRPr lang="en-GB" sz="1200" kern="1200" dirty="0">
                        <a:solidFill>
                          <a:schemeClr val="tx2"/>
                        </a:solidFill>
                        <a:latin typeface="Source Sans Pro Ligh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33673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noProof="0" dirty="0" err="1" smtClean="0">
                          <a:solidFill>
                            <a:schemeClr val="tx2"/>
                          </a:solidFill>
                          <a:latin typeface="Source Sans Pro Light"/>
                        </a:rPr>
                        <a:t>AggPurchase</a:t>
                      </a:r>
                      <a:endParaRPr lang="en-GB" sz="1200" noProof="0" dirty="0" smtClean="0">
                        <a:solidFill>
                          <a:schemeClr val="tx2"/>
                        </a:solidFill>
                        <a:latin typeface="Source Sans Pro Light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dirty="0" smtClean="0">
                          <a:solidFill>
                            <a:schemeClr val="tx2"/>
                          </a:solidFill>
                          <a:latin typeface="Source Sans Pro Light"/>
                        </a:rPr>
                        <a:t>0-394882</a:t>
                      </a:r>
                      <a:endParaRPr lang="en-US" sz="1200" noProof="0" dirty="0">
                        <a:solidFill>
                          <a:schemeClr val="tx2"/>
                        </a:solidFill>
                        <a:latin typeface="Source Sans Pro Ligh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dirty="0" smtClean="0">
                          <a:solidFill>
                            <a:schemeClr val="tx2"/>
                          </a:solidFill>
                          <a:latin typeface="Source Sans Pro Light"/>
                        </a:rPr>
                        <a:t>Numeric</a:t>
                      </a:r>
                      <a:endParaRPr lang="en-US" sz="1200" noProof="0" dirty="0">
                        <a:solidFill>
                          <a:schemeClr val="tx2"/>
                        </a:solidFill>
                        <a:latin typeface="Source Sans Pro Light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smtClean="0">
                          <a:solidFill>
                            <a:schemeClr val="tx2"/>
                          </a:solidFill>
                          <a:latin typeface="Source Sans Pro Light"/>
                        </a:rPr>
                        <a:t>156321</a:t>
                      </a:r>
                      <a:endParaRPr lang="en-US" sz="1200" noProof="0" dirty="0">
                        <a:solidFill>
                          <a:schemeClr val="tx2"/>
                        </a:solidFill>
                        <a:latin typeface="Source Sans Pro Light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dirty="0" smtClean="0">
                          <a:solidFill>
                            <a:schemeClr val="tx2"/>
                          </a:solidFill>
                          <a:latin typeface="Source Sans Pro Light"/>
                        </a:rPr>
                        <a:t>0</a:t>
                      </a:r>
                      <a:endParaRPr lang="en-US" sz="1200" noProof="0" dirty="0">
                        <a:solidFill>
                          <a:schemeClr val="tx2"/>
                        </a:solidFill>
                        <a:latin typeface="Source Sans Pro Light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dirty="0" smtClean="0">
                          <a:solidFill>
                            <a:schemeClr val="tx2"/>
                          </a:solidFill>
                          <a:latin typeface="Source Sans Pro Light"/>
                        </a:rPr>
                        <a:t>8983</a:t>
                      </a:r>
                      <a:endParaRPr lang="en-US" sz="1200" noProof="0" dirty="0">
                        <a:solidFill>
                          <a:schemeClr val="tx2"/>
                        </a:solidFill>
                        <a:latin typeface="Source Sans Pro Ligh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</a:tr>
              <a:tr h="284207">
                <a:tc>
                  <a:txBody>
                    <a:bodyPr/>
                    <a:lstStyle/>
                    <a:p>
                      <a:pPr marL="0" algn="l" defTabSz="336736" rtl="0" eaLnBrk="1" latinLnBrk="0" hangingPunct="1"/>
                      <a:endParaRPr lang="en-GB" sz="1200" kern="1200" dirty="0">
                        <a:solidFill>
                          <a:schemeClr val="tx2"/>
                        </a:solidFill>
                        <a:latin typeface="Source Sans Pro Ligh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33673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noProof="0" dirty="0" smtClean="0">
                          <a:solidFill>
                            <a:schemeClr val="tx2"/>
                          </a:solidFill>
                          <a:latin typeface="Source Sans Pro Light"/>
                        </a:rPr>
                        <a:t>PLZ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dirty="0" smtClean="0">
                          <a:solidFill>
                            <a:schemeClr val="tx2"/>
                          </a:solidFill>
                          <a:latin typeface="Source Sans Pro Light"/>
                        </a:rPr>
                        <a:t>1000-9658</a:t>
                      </a:r>
                      <a:endParaRPr lang="en-US" sz="1200" noProof="0" dirty="0">
                        <a:solidFill>
                          <a:schemeClr val="tx2"/>
                        </a:solidFill>
                        <a:latin typeface="Source Sans Pro Ligh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dirty="0" smtClean="0">
                          <a:solidFill>
                            <a:schemeClr val="tx2"/>
                          </a:solidFill>
                          <a:latin typeface="Source Sans Pro Light"/>
                        </a:rPr>
                        <a:t>Integer</a:t>
                      </a:r>
                      <a:endParaRPr lang="en-US" sz="1200" noProof="0" dirty="0">
                        <a:solidFill>
                          <a:schemeClr val="tx2"/>
                        </a:solidFill>
                        <a:latin typeface="Source Sans Pro Light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smtClean="0">
                          <a:solidFill>
                            <a:schemeClr val="tx2"/>
                          </a:solidFill>
                          <a:latin typeface="Source Sans Pro Light"/>
                        </a:rPr>
                        <a:t>156321</a:t>
                      </a:r>
                      <a:endParaRPr lang="en-US" sz="1200" noProof="0" dirty="0">
                        <a:solidFill>
                          <a:schemeClr val="tx2"/>
                        </a:solidFill>
                        <a:latin typeface="Source Sans Pro Light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dirty="0" smtClean="0">
                          <a:solidFill>
                            <a:schemeClr val="tx2"/>
                          </a:solidFill>
                          <a:latin typeface="Source Sans Pro Light"/>
                        </a:rPr>
                        <a:t>1518</a:t>
                      </a:r>
                      <a:endParaRPr lang="en-US" sz="1200" noProof="0" dirty="0">
                        <a:solidFill>
                          <a:schemeClr val="tx2"/>
                        </a:solidFill>
                        <a:latin typeface="Source Sans Pro Light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dirty="0" smtClean="0">
                          <a:solidFill>
                            <a:schemeClr val="tx2"/>
                          </a:solidFill>
                          <a:latin typeface="Source Sans Pro Light"/>
                        </a:rPr>
                        <a:t>-</a:t>
                      </a:r>
                      <a:endParaRPr lang="en-US" sz="1200" noProof="0" dirty="0">
                        <a:solidFill>
                          <a:schemeClr val="tx2"/>
                        </a:solidFill>
                        <a:latin typeface="Source Sans Pro Ligh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</a:tr>
              <a:tr h="284207">
                <a:tc>
                  <a:txBody>
                    <a:bodyPr/>
                    <a:lstStyle/>
                    <a:p>
                      <a:pPr marL="0" algn="l" defTabSz="336736" rtl="0" eaLnBrk="1" latinLnBrk="0" hangingPunct="1"/>
                      <a:endParaRPr lang="en-GB" sz="1200" kern="1200">
                        <a:solidFill>
                          <a:schemeClr val="tx2"/>
                        </a:solidFill>
                        <a:latin typeface="Source Sans Pro Ligh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33673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noProof="0" dirty="0" smtClean="0">
                          <a:solidFill>
                            <a:schemeClr val="tx2"/>
                          </a:solidFill>
                          <a:latin typeface="Source Sans Pro Light"/>
                        </a:rPr>
                        <a:t>City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dirty="0" smtClean="0">
                          <a:solidFill>
                            <a:schemeClr val="tx2"/>
                          </a:solidFill>
                          <a:latin typeface="Source Sans Pro Light"/>
                        </a:rPr>
                        <a:t>-</a:t>
                      </a:r>
                      <a:endParaRPr lang="en-US" sz="1200" noProof="0" dirty="0">
                        <a:solidFill>
                          <a:schemeClr val="tx2"/>
                        </a:solidFill>
                        <a:latin typeface="Source Sans Pro Ligh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dirty="0" smtClean="0">
                          <a:solidFill>
                            <a:schemeClr val="tx2"/>
                          </a:solidFill>
                          <a:latin typeface="Source Sans Pro Light"/>
                        </a:rPr>
                        <a:t>Character</a:t>
                      </a:r>
                      <a:endParaRPr lang="en-US" sz="1200" noProof="0" dirty="0">
                        <a:solidFill>
                          <a:schemeClr val="tx2"/>
                        </a:solidFill>
                        <a:latin typeface="Source Sans Pro Light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dirty="0" smtClean="0">
                          <a:solidFill>
                            <a:schemeClr val="tx2"/>
                          </a:solidFill>
                          <a:latin typeface="Source Sans Pro Light"/>
                        </a:rPr>
                        <a:t>156321</a:t>
                      </a:r>
                      <a:endParaRPr lang="en-US" sz="1200" noProof="0" dirty="0">
                        <a:solidFill>
                          <a:schemeClr val="tx2"/>
                        </a:solidFill>
                        <a:latin typeface="Source Sans Pro Light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dirty="0" smtClean="0">
                          <a:solidFill>
                            <a:schemeClr val="tx2"/>
                          </a:solidFill>
                          <a:latin typeface="Source Sans Pro Light"/>
                        </a:rPr>
                        <a:t>1518</a:t>
                      </a:r>
                      <a:endParaRPr lang="en-US" sz="1200" noProof="0" dirty="0">
                        <a:solidFill>
                          <a:schemeClr val="tx2"/>
                        </a:solidFill>
                        <a:latin typeface="Source Sans Pro Light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dirty="0" smtClean="0">
                          <a:solidFill>
                            <a:schemeClr val="tx2"/>
                          </a:solidFill>
                          <a:latin typeface="Source Sans Pro Light"/>
                        </a:rPr>
                        <a:t>-</a:t>
                      </a:r>
                      <a:endParaRPr lang="en-US" sz="1200" noProof="0" dirty="0">
                        <a:solidFill>
                          <a:schemeClr val="tx2"/>
                        </a:solidFill>
                        <a:latin typeface="Source Sans Pro Ligh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</a:tr>
              <a:tr h="284207">
                <a:tc>
                  <a:txBody>
                    <a:bodyPr/>
                    <a:lstStyle/>
                    <a:p>
                      <a:pPr marL="0" algn="l" defTabSz="336736" rtl="0" eaLnBrk="1" latinLnBrk="0" hangingPunct="1"/>
                      <a:endParaRPr lang="en-GB" sz="1200" kern="1200" dirty="0">
                        <a:solidFill>
                          <a:schemeClr val="tx2"/>
                        </a:solidFill>
                        <a:latin typeface="Source Sans Pro Ligh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33673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noProof="0" dirty="0" smtClean="0">
                        <a:solidFill>
                          <a:schemeClr val="tx2"/>
                        </a:solidFill>
                        <a:latin typeface="Source Sans Pro Light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noProof="0" dirty="0">
                        <a:solidFill>
                          <a:schemeClr val="tx2"/>
                        </a:solidFill>
                        <a:latin typeface="Source Sans Pro Ligh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3673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noProof="0" dirty="0" smtClean="0">
                        <a:solidFill>
                          <a:schemeClr val="tx2"/>
                        </a:solidFill>
                        <a:latin typeface="Source Sans Pro Light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noProof="0" dirty="0">
                        <a:solidFill>
                          <a:schemeClr val="tx2"/>
                        </a:solidFill>
                        <a:latin typeface="Source Sans Pro Light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noProof="0" dirty="0">
                        <a:solidFill>
                          <a:schemeClr val="tx2"/>
                        </a:solidFill>
                        <a:latin typeface="Source Sans Pro Light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noProof="0" dirty="0">
                        <a:solidFill>
                          <a:schemeClr val="tx2"/>
                        </a:solidFill>
                        <a:latin typeface="Source Sans Pro Ligh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</a:tr>
              <a:tr h="284207">
                <a:tc rowSpan="2">
                  <a:txBody>
                    <a:bodyPr/>
                    <a:lstStyle/>
                    <a:p>
                      <a:pPr marL="0" algn="l" defTabSz="336736" rtl="0" eaLnBrk="1" latinLnBrk="0" hangingPunct="1"/>
                      <a:r>
                        <a:rPr lang="en-GB" sz="1200" kern="1200" dirty="0" smtClean="0">
                          <a:solidFill>
                            <a:schemeClr val="tx2"/>
                          </a:solidFill>
                          <a:latin typeface="Source Sans Pro Light"/>
                          <a:ea typeface="+mn-ea"/>
                          <a:cs typeface="+mn-cs"/>
                        </a:rPr>
                        <a:t>Population statistics</a:t>
                      </a:r>
                      <a:endParaRPr lang="en-GB" sz="1200" kern="1200" dirty="0">
                        <a:solidFill>
                          <a:schemeClr val="tx2"/>
                        </a:solidFill>
                        <a:latin typeface="Source Sans Pro Ligh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33673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noProof="0" dirty="0" smtClean="0">
                          <a:solidFill>
                            <a:schemeClr val="tx2"/>
                          </a:solidFill>
                          <a:latin typeface="Source Sans Pro Light"/>
                        </a:rPr>
                        <a:t>PLZ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dirty="0" smtClean="0">
                          <a:solidFill>
                            <a:schemeClr val="tx2"/>
                          </a:solidFill>
                          <a:latin typeface="Source Sans Pro Light"/>
                        </a:rPr>
                        <a:t>1000-9658 </a:t>
                      </a:r>
                      <a:endParaRPr lang="en-US" sz="1200" noProof="0" dirty="0">
                        <a:solidFill>
                          <a:schemeClr val="tx2"/>
                        </a:solidFill>
                        <a:latin typeface="Source Sans Pro Ligh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3673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noProof="0" dirty="0" smtClean="0">
                          <a:solidFill>
                            <a:schemeClr val="tx2"/>
                          </a:solidFill>
                          <a:latin typeface="Source Sans Pro Light"/>
                        </a:rPr>
                        <a:t>Integer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smtClean="0">
                          <a:solidFill>
                            <a:schemeClr val="tx2"/>
                          </a:solidFill>
                          <a:latin typeface="Source Sans Pro Light"/>
                        </a:rPr>
                        <a:t>3189</a:t>
                      </a:r>
                      <a:endParaRPr lang="en-US" sz="1200" noProof="0" dirty="0">
                        <a:solidFill>
                          <a:schemeClr val="tx2"/>
                        </a:solidFill>
                        <a:latin typeface="Source Sans Pro Light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dirty="0" smtClean="0">
                          <a:solidFill>
                            <a:schemeClr val="tx2"/>
                          </a:solidFill>
                          <a:latin typeface="Source Sans Pro Light"/>
                        </a:rPr>
                        <a:t>0</a:t>
                      </a:r>
                      <a:endParaRPr lang="en-US" sz="1200" noProof="0" dirty="0">
                        <a:solidFill>
                          <a:schemeClr val="tx2"/>
                        </a:solidFill>
                        <a:latin typeface="Source Sans Pro Light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dirty="0" smtClean="0">
                          <a:solidFill>
                            <a:schemeClr val="tx2"/>
                          </a:solidFill>
                          <a:latin typeface="Source Sans Pro Light"/>
                        </a:rPr>
                        <a:t>-</a:t>
                      </a:r>
                      <a:endParaRPr lang="en-US" sz="1200" noProof="0" dirty="0">
                        <a:solidFill>
                          <a:schemeClr val="tx2"/>
                        </a:solidFill>
                        <a:latin typeface="Source Sans Pro Ligh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</a:tr>
              <a:tr h="284207">
                <a:tc vMerge="1">
                  <a:txBody>
                    <a:bodyPr/>
                    <a:lstStyle/>
                    <a:p>
                      <a:pPr marL="0" algn="l" defTabSz="336736" rtl="0" eaLnBrk="1" latinLnBrk="0" hangingPunct="1"/>
                      <a:endParaRPr lang="en-GB" sz="1200" kern="1200" dirty="0">
                        <a:solidFill>
                          <a:schemeClr val="tx2"/>
                        </a:solidFill>
                        <a:latin typeface="Source Sans Pro Ligh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noProof="0" dirty="0" smtClean="0">
                          <a:solidFill>
                            <a:schemeClr val="tx2"/>
                          </a:solidFill>
                          <a:latin typeface="Source Sans Pro Light"/>
                        </a:rPr>
                        <a:t>Total</a:t>
                      </a:r>
                      <a:endParaRPr lang="en-US" sz="1200" noProof="0" dirty="0">
                        <a:solidFill>
                          <a:schemeClr val="tx2"/>
                        </a:solidFill>
                        <a:latin typeface="Source Sans Pro Light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dirty="0" smtClean="0">
                          <a:solidFill>
                            <a:schemeClr val="tx2"/>
                          </a:solidFill>
                          <a:latin typeface="Source Sans Pro Light"/>
                        </a:rPr>
                        <a:t>1-38904</a:t>
                      </a:r>
                      <a:endParaRPr lang="en-US" sz="1200" noProof="0" dirty="0">
                        <a:solidFill>
                          <a:schemeClr val="tx2"/>
                        </a:solidFill>
                        <a:latin typeface="Source Sans Pro Ligh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3673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noProof="0" dirty="0" smtClean="0">
                          <a:solidFill>
                            <a:schemeClr val="tx2"/>
                          </a:solidFill>
                          <a:latin typeface="Source Sans Pro Light"/>
                        </a:rPr>
                        <a:t>Integer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dirty="0" smtClean="0">
                          <a:solidFill>
                            <a:schemeClr val="tx2"/>
                          </a:solidFill>
                          <a:latin typeface="Source Sans Pro Light"/>
                        </a:rPr>
                        <a:t>3189</a:t>
                      </a:r>
                      <a:endParaRPr lang="en-US" sz="1200" noProof="0" dirty="0">
                        <a:solidFill>
                          <a:schemeClr val="tx2"/>
                        </a:solidFill>
                        <a:latin typeface="Source Sans Pro Light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dirty="0" smtClean="0">
                          <a:solidFill>
                            <a:schemeClr val="tx2"/>
                          </a:solidFill>
                          <a:latin typeface="Source Sans Pro Light"/>
                        </a:rPr>
                        <a:t>0</a:t>
                      </a:r>
                      <a:endParaRPr lang="en-US" sz="1200" noProof="0" dirty="0">
                        <a:solidFill>
                          <a:schemeClr val="tx2"/>
                        </a:solidFill>
                        <a:latin typeface="Source Sans Pro Light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dirty="0" smtClean="0">
                          <a:solidFill>
                            <a:schemeClr val="tx2"/>
                          </a:solidFill>
                          <a:latin typeface="Source Sans Pro Light"/>
                        </a:rPr>
                        <a:t>2583</a:t>
                      </a:r>
                      <a:endParaRPr lang="en-US" sz="1200" noProof="0" dirty="0">
                        <a:solidFill>
                          <a:schemeClr val="tx2"/>
                        </a:solidFill>
                        <a:latin typeface="Source Sans Pro Ligh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</a:tr>
              <a:tr h="284207">
                <a:tc>
                  <a:txBody>
                    <a:bodyPr/>
                    <a:lstStyle/>
                    <a:p>
                      <a:pPr marL="0" algn="l" defTabSz="336736" rtl="0" eaLnBrk="1" latinLnBrk="0" hangingPunct="1"/>
                      <a:endParaRPr lang="en-GB" sz="1200" kern="1200" dirty="0">
                        <a:solidFill>
                          <a:schemeClr val="tx2"/>
                        </a:solidFill>
                        <a:latin typeface="Source Sans Pro Ligh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33673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noProof="0" dirty="0" smtClean="0">
                          <a:solidFill>
                            <a:schemeClr val="tx2"/>
                          </a:solidFill>
                          <a:latin typeface="Source Sans Pro Light"/>
                        </a:rPr>
                        <a:t>…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noProof="0" dirty="0">
                        <a:solidFill>
                          <a:schemeClr val="tx2"/>
                        </a:solidFill>
                        <a:latin typeface="Source Sans Pro Ligh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3673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noProof="0" dirty="0" smtClean="0">
                        <a:solidFill>
                          <a:schemeClr val="tx2"/>
                        </a:solidFill>
                        <a:latin typeface="Source Sans Pro Light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noProof="0" dirty="0">
                        <a:solidFill>
                          <a:schemeClr val="tx2"/>
                        </a:solidFill>
                        <a:latin typeface="Source Sans Pro Light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noProof="0" dirty="0">
                        <a:solidFill>
                          <a:schemeClr val="tx2"/>
                        </a:solidFill>
                        <a:latin typeface="Source Sans Pro Light"/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noProof="0" dirty="0">
                        <a:solidFill>
                          <a:schemeClr val="tx2"/>
                        </a:solidFill>
                        <a:latin typeface="Source Sans Pro Ligh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grpSp>
        <p:nvGrpSpPr>
          <p:cNvPr id="12" name="Gruppieren 11"/>
          <p:cNvGrpSpPr/>
          <p:nvPr/>
        </p:nvGrpSpPr>
        <p:grpSpPr>
          <a:xfrm>
            <a:off x="0" y="6598784"/>
            <a:ext cx="9914384" cy="260648"/>
            <a:chOff x="0" y="6598784"/>
            <a:chExt cx="9914384" cy="260648"/>
          </a:xfrm>
        </p:grpSpPr>
        <p:grpSp>
          <p:nvGrpSpPr>
            <p:cNvPr id="13" name="Gruppieren 12"/>
            <p:cNvGrpSpPr/>
            <p:nvPr/>
          </p:nvGrpSpPr>
          <p:grpSpPr>
            <a:xfrm>
              <a:off x="0" y="6598784"/>
              <a:ext cx="9914384" cy="260648"/>
              <a:chOff x="0" y="6598784"/>
              <a:chExt cx="9914384" cy="260648"/>
            </a:xfrm>
          </p:grpSpPr>
          <p:sp>
            <p:nvSpPr>
              <p:cNvPr id="15" name="Rectangle 7"/>
              <p:cNvSpPr/>
              <p:nvPr>
                <p:custDataLst>
                  <p:tags r:id="rId1"/>
                </p:custDataLst>
              </p:nvPr>
            </p:nvSpPr>
            <p:spPr bwMode="auto">
              <a:xfrm>
                <a:off x="0" y="6614991"/>
                <a:ext cx="5601072" cy="243009"/>
              </a:xfrm>
              <a:prstGeom prst="rect">
                <a:avLst/>
              </a:prstGeom>
              <a:solidFill>
                <a:schemeClr val="tx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29" tIns="0" rIns="91429" bIns="45715" numCol="1" rtlCol="0" anchor="t" anchorCtr="0" compatLnSpc="1">
                <a:prstTxWarp prst="textNoShape">
                  <a:avLst/>
                </a:prstTxWarp>
              </a:bodyPr>
              <a:lstStyle/>
              <a:p>
                <a:r>
                  <a:rPr lang="en-US" sz="1200" dirty="0" smtClean="0">
                    <a:solidFill>
                      <a:schemeClr val="bg1">
                        <a:lumMod val="75000"/>
                      </a:schemeClr>
                    </a:solidFill>
                    <a:latin typeface="Source Sans Pro Light" panose="020B0403030403020204" pitchFamily="34" charset="0"/>
                    <a:cs typeface="Source Sans Pro Light"/>
                  </a:rPr>
                  <a:t>Mapping Customers |       Data Screening &amp; Descriptives</a:t>
                </a:r>
                <a:endParaRPr lang="en-US" sz="1200" dirty="0">
                  <a:solidFill>
                    <a:schemeClr val="bg1">
                      <a:lumMod val="75000"/>
                    </a:schemeClr>
                  </a:solidFill>
                  <a:latin typeface="Source Sans Pro Light" panose="020B0403030403020204" pitchFamily="34" charset="0"/>
                  <a:cs typeface="Source Sans Pro"/>
                </a:endParaRPr>
              </a:p>
            </p:txBody>
          </p:sp>
          <p:sp>
            <p:nvSpPr>
              <p:cNvPr id="16" name="Rectangle 7"/>
              <p:cNvSpPr/>
              <p:nvPr>
                <p:custDataLst>
                  <p:tags r:id="rId2"/>
                </p:custDataLst>
              </p:nvPr>
            </p:nvSpPr>
            <p:spPr bwMode="auto">
              <a:xfrm>
                <a:off x="5673080" y="6598784"/>
                <a:ext cx="4241304" cy="260648"/>
              </a:xfrm>
              <a:prstGeom prst="rect">
                <a:avLst/>
              </a:prstGeom>
              <a:solidFill>
                <a:schemeClr val="tx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29" tIns="0" rIns="91429" bIns="45715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r"/>
                <a:r>
                  <a:rPr lang="en-US" sz="1200" dirty="0" smtClean="0">
                    <a:solidFill>
                      <a:schemeClr val="bg1">
                        <a:lumMod val="75000"/>
                      </a:schemeClr>
                    </a:solidFill>
                    <a:latin typeface="Source Sans Pro Light" panose="020B0403030403020204" pitchFamily="34" charset="0"/>
                    <a:cs typeface="Source Sans Pro"/>
                    <a:sym typeface="Monotype Sorts"/>
                  </a:rPr>
                  <a:t>Salome </a:t>
                </a:r>
                <a:r>
                  <a:rPr lang="en-US" sz="1200" dirty="0">
                    <a:solidFill>
                      <a:schemeClr val="bg1">
                        <a:lumMod val="75000"/>
                      </a:schemeClr>
                    </a:solidFill>
                    <a:latin typeface="Source Sans Pro Light" panose="020B0403030403020204" pitchFamily="34" charset="0"/>
                    <a:cs typeface="Source Sans Pro"/>
                    <a:sym typeface="Monotype Sorts"/>
                  </a:rPr>
                  <a:t>Lang</a:t>
                </a:r>
              </a:p>
            </p:txBody>
          </p:sp>
        </p:grpSp>
        <p:sp>
          <p:nvSpPr>
            <p:cNvPr id="14" name="Ellipse 13"/>
            <p:cNvSpPr/>
            <p:nvPr/>
          </p:nvSpPr>
          <p:spPr bwMode="auto">
            <a:xfrm>
              <a:off x="1460624" y="6655292"/>
              <a:ext cx="108000" cy="108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CH" sz="850" b="1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Source Sans Pro Light" panose="020B0403030403020204" pitchFamily="34" charset="0"/>
                </a:rPr>
                <a:t>3</a:t>
              </a:r>
              <a:endParaRPr kumimoji="0" lang="de-CH" sz="850" b="1" i="0" u="none" strike="noStrike" normalizeH="0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Source Sans Pro Light" panose="020B0403030403020204" pitchFamily="34" charset="0"/>
                <a:sym typeface="Neutraface Text Book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90096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In most ZIP code areas, the retailer reaches less than 4% of the population 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b="1" dirty="0" smtClean="0">
                <a:solidFill>
                  <a:schemeClr val="bg1"/>
                </a:solidFill>
              </a:rPr>
              <a:t>Screening</a:t>
            </a:r>
            <a:endParaRPr lang="en-GB" b="1" dirty="0">
              <a:solidFill>
                <a:schemeClr val="bg1"/>
              </a:solidFill>
            </a:endParaRPr>
          </a:p>
        </p:txBody>
      </p:sp>
      <p:pic>
        <p:nvPicPr>
          <p:cNvPr id="4" name="Inhaltsplatzhalter 3"/>
          <p:cNvPicPr>
            <a:picLocks noGrp="1" noChangeAspect="1"/>
          </p:cNvPicPr>
          <p:nvPr>
            <p:ph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846" y="1601529"/>
            <a:ext cx="7670308" cy="4293117"/>
          </a:xfrm>
        </p:spPr>
      </p:pic>
      <p:sp>
        <p:nvSpPr>
          <p:cNvPr id="13" name="Rounded Rectangular Callout 7"/>
          <p:cNvSpPr/>
          <p:nvPr>
            <p:custDataLst>
              <p:tags r:id="rId1"/>
            </p:custDataLst>
          </p:nvPr>
        </p:nvSpPr>
        <p:spPr bwMode="auto">
          <a:xfrm>
            <a:off x="2360712" y="1602858"/>
            <a:ext cx="1152128" cy="488697"/>
          </a:xfrm>
          <a:prstGeom prst="wedgeRoundRectCallout">
            <a:avLst>
              <a:gd name="adj1" fmla="val 19163"/>
              <a:gd name="adj2" fmla="val 81959"/>
              <a:gd name="adj3" fmla="val 16667"/>
            </a:avLst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</a:bodyPr>
          <a:lstStyle/>
          <a:p>
            <a:pPr defTabSz="914296"/>
            <a:r>
              <a:rPr lang="en-US" sz="1200" dirty="0" smtClean="0">
                <a:latin typeface="Source Sans Pro Light"/>
                <a:cs typeface="Source Sans Pro Light"/>
              </a:rPr>
              <a:t>Mean </a:t>
            </a:r>
            <a:r>
              <a:rPr lang="en-US" sz="1200" dirty="0">
                <a:latin typeface="Source Sans Pro Light"/>
                <a:cs typeface="Source Sans Pro Light"/>
              </a:rPr>
              <a:t>= 0.0176</a:t>
            </a:r>
            <a:endParaRPr lang="en-US" sz="1200" dirty="0" smtClean="0">
              <a:latin typeface="Source Sans Pro Light"/>
              <a:cs typeface="Source Sans Pro Light"/>
            </a:endParaRPr>
          </a:p>
        </p:txBody>
      </p:sp>
      <p:graphicFrame>
        <p:nvGraphicFramePr>
          <p:cNvPr id="14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7862873"/>
              </p:ext>
            </p:extLst>
          </p:nvPr>
        </p:nvGraphicFramePr>
        <p:xfrm>
          <a:off x="-19044" y="5924136"/>
          <a:ext cx="9274871" cy="529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072"/>
                <a:gridCol w="8626799"/>
              </a:tblGrid>
              <a:tr h="504032">
                <a:tc>
                  <a:txBody>
                    <a:bodyPr/>
                    <a:lstStyle/>
                    <a:p>
                      <a:pPr algn="ctr">
                        <a:lnSpc>
                          <a:spcPts val="3600"/>
                        </a:lnSpc>
                      </a:pPr>
                      <a:r>
                        <a:rPr lang="en-US" sz="2500" noProof="0" dirty="0" smtClean="0">
                          <a:solidFill>
                            <a:srgbClr val="7F7F7F"/>
                          </a:solidFill>
                          <a:latin typeface="Source Sans Pro Light"/>
                          <a:cs typeface="Source Sans Pro Light"/>
                          <a:sym typeface="Wingdings 3"/>
                        </a:rPr>
                        <a:t></a:t>
                      </a:r>
                      <a:endParaRPr lang="en-US" sz="2500" noProof="0" dirty="0">
                        <a:solidFill>
                          <a:srgbClr val="7F7F7F"/>
                        </a:solidFill>
                        <a:latin typeface="Source Sans Pro Light"/>
                        <a:cs typeface="Source Sans Pro Light"/>
                      </a:endParaRPr>
                    </a:p>
                  </a:txBody>
                  <a:tcPr marL="0" marR="0" marT="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b="0" dirty="0" smtClean="0">
                          <a:solidFill>
                            <a:srgbClr val="7F7F7F"/>
                          </a:solidFill>
                          <a:latin typeface="Source Sans Pro Light"/>
                          <a:cs typeface="Source Sans Pro Light"/>
                        </a:rPr>
                        <a:t>This</a:t>
                      </a:r>
                      <a:r>
                        <a:rPr lang="en-US" sz="1800" b="0" baseline="0" dirty="0" smtClean="0">
                          <a:solidFill>
                            <a:srgbClr val="7F7F7F"/>
                          </a:solidFill>
                          <a:latin typeface="Source Sans Pro Light"/>
                          <a:cs typeface="Source Sans Pro Light"/>
                        </a:rPr>
                        <a:t> is the variable of interest for the maps: number of customers weighted by population</a:t>
                      </a:r>
                      <a:endParaRPr lang="en-US" sz="1800" b="0" dirty="0" smtClean="0">
                        <a:solidFill>
                          <a:srgbClr val="7F7F7F"/>
                        </a:solidFill>
                        <a:latin typeface="Source Sans Pro Light"/>
                        <a:cs typeface="Source Sans Pro Light"/>
                      </a:endParaRPr>
                    </a:p>
                  </a:txBody>
                  <a:tcPr marL="0" marR="0" marT="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</a:tr>
            </a:tbl>
          </a:graphicData>
        </a:graphic>
      </p:graphicFrame>
      <p:grpSp>
        <p:nvGrpSpPr>
          <p:cNvPr id="12" name="Gruppieren 11"/>
          <p:cNvGrpSpPr/>
          <p:nvPr/>
        </p:nvGrpSpPr>
        <p:grpSpPr>
          <a:xfrm>
            <a:off x="0" y="6598784"/>
            <a:ext cx="9914384" cy="260648"/>
            <a:chOff x="0" y="6598784"/>
            <a:chExt cx="9914384" cy="260648"/>
          </a:xfrm>
        </p:grpSpPr>
        <p:grpSp>
          <p:nvGrpSpPr>
            <p:cNvPr id="15" name="Gruppieren 14"/>
            <p:cNvGrpSpPr/>
            <p:nvPr/>
          </p:nvGrpSpPr>
          <p:grpSpPr>
            <a:xfrm>
              <a:off x="0" y="6598784"/>
              <a:ext cx="9914384" cy="260648"/>
              <a:chOff x="0" y="6598784"/>
              <a:chExt cx="9914384" cy="260648"/>
            </a:xfrm>
          </p:grpSpPr>
          <p:sp>
            <p:nvSpPr>
              <p:cNvPr id="17" name="Rectangle 7"/>
              <p:cNvSpPr/>
              <p:nvPr>
                <p:custDataLst>
                  <p:tags r:id="rId2"/>
                </p:custDataLst>
              </p:nvPr>
            </p:nvSpPr>
            <p:spPr bwMode="auto">
              <a:xfrm>
                <a:off x="0" y="6614991"/>
                <a:ext cx="5601072" cy="243009"/>
              </a:xfrm>
              <a:prstGeom prst="rect">
                <a:avLst/>
              </a:prstGeom>
              <a:solidFill>
                <a:schemeClr val="tx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29" tIns="0" rIns="91429" bIns="45715" numCol="1" rtlCol="0" anchor="t" anchorCtr="0" compatLnSpc="1">
                <a:prstTxWarp prst="textNoShape">
                  <a:avLst/>
                </a:prstTxWarp>
              </a:bodyPr>
              <a:lstStyle/>
              <a:p>
                <a:r>
                  <a:rPr lang="en-US" sz="1200" dirty="0" smtClean="0">
                    <a:solidFill>
                      <a:schemeClr val="bg1">
                        <a:lumMod val="75000"/>
                      </a:schemeClr>
                    </a:solidFill>
                    <a:latin typeface="Source Sans Pro Light" panose="020B0403030403020204" pitchFamily="34" charset="0"/>
                    <a:cs typeface="Source Sans Pro Light"/>
                  </a:rPr>
                  <a:t>Mapping Customers |       Data Screening &amp; Descriptives</a:t>
                </a:r>
                <a:endParaRPr lang="en-US" sz="1200" dirty="0">
                  <a:solidFill>
                    <a:schemeClr val="bg1">
                      <a:lumMod val="75000"/>
                    </a:schemeClr>
                  </a:solidFill>
                  <a:latin typeface="Source Sans Pro Light" panose="020B0403030403020204" pitchFamily="34" charset="0"/>
                  <a:cs typeface="Source Sans Pro"/>
                </a:endParaRPr>
              </a:p>
            </p:txBody>
          </p:sp>
          <p:sp>
            <p:nvSpPr>
              <p:cNvPr id="18" name="Rectangle 7"/>
              <p:cNvSpPr/>
              <p:nvPr>
                <p:custDataLst>
                  <p:tags r:id="rId3"/>
                </p:custDataLst>
              </p:nvPr>
            </p:nvSpPr>
            <p:spPr bwMode="auto">
              <a:xfrm>
                <a:off x="5673080" y="6598784"/>
                <a:ext cx="4241304" cy="260648"/>
              </a:xfrm>
              <a:prstGeom prst="rect">
                <a:avLst/>
              </a:prstGeom>
              <a:solidFill>
                <a:schemeClr val="tx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29" tIns="0" rIns="91429" bIns="45715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r"/>
                <a:r>
                  <a:rPr lang="en-US" sz="1200" dirty="0" smtClean="0">
                    <a:solidFill>
                      <a:schemeClr val="bg1">
                        <a:lumMod val="75000"/>
                      </a:schemeClr>
                    </a:solidFill>
                    <a:latin typeface="Source Sans Pro Light" panose="020B0403030403020204" pitchFamily="34" charset="0"/>
                    <a:cs typeface="Source Sans Pro"/>
                    <a:sym typeface="Monotype Sorts"/>
                  </a:rPr>
                  <a:t>Salome </a:t>
                </a:r>
                <a:r>
                  <a:rPr lang="en-US" sz="1200" dirty="0">
                    <a:solidFill>
                      <a:schemeClr val="bg1">
                        <a:lumMod val="75000"/>
                      </a:schemeClr>
                    </a:solidFill>
                    <a:latin typeface="Source Sans Pro Light" panose="020B0403030403020204" pitchFamily="34" charset="0"/>
                    <a:cs typeface="Source Sans Pro"/>
                    <a:sym typeface="Monotype Sorts"/>
                  </a:rPr>
                  <a:t>Lang</a:t>
                </a:r>
              </a:p>
            </p:txBody>
          </p:sp>
        </p:grpSp>
        <p:sp>
          <p:nvSpPr>
            <p:cNvPr id="16" name="Ellipse 15"/>
            <p:cNvSpPr/>
            <p:nvPr/>
          </p:nvSpPr>
          <p:spPr bwMode="auto">
            <a:xfrm>
              <a:off x="1460624" y="6655292"/>
              <a:ext cx="108000" cy="108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CH" sz="850" b="1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Source Sans Pro Light" panose="020B0403030403020204" pitchFamily="34" charset="0"/>
                </a:rPr>
                <a:t>3</a:t>
              </a:r>
              <a:endParaRPr kumimoji="0" lang="de-CH" sz="850" b="1" i="0" u="none" strike="noStrike" normalizeH="0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Source Sans Pro Light" panose="020B0403030403020204" pitchFamily="34" charset="0"/>
                <a:sym typeface="Neutraface Text Book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43054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pping Customers</a:t>
            </a:r>
            <a:r>
              <a:rPr lang="en-US" dirty="0" smtClean="0">
                <a:latin typeface="Source Sans Pro Semibold"/>
                <a:cs typeface="Source Sans Pro Semibold"/>
              </a:rPr>
              <a:t/>
            </a:r>
            <a:br>
              <a:rPr lang="en-US" dirty="0" smtClean="0">
                <a:latin typeface="Source Sans Pro Semibold"/>
                <a:cs typeface="Source Sans Pro Semibold"/>
              </a:rPr>
            </a:br>
            <a:r>
              <a:rPr lang="en-US" b="1" dirty="0" smtClean="0">
                <a:latin typeface="Source Sans Pro Semibold"/>
                <a:cs typeface="Source Sans Pro Semibold"/>
              </a:rPr>
              <a:t>Agenda</a:t>
            </a:r>
            <a:endParaRPr lang="en-US" b="1" dirty="0">
              <a:latin typeface="Source Sans Pro Semibold"/>
              <a:cs typeface="Source Sans Pro Semibold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9125" y="1564803"/>
            <a:ext cx="8667750" cy="4384477"/>
          </a:xfrm>
        </p:spPr>
        <p:txBody>
          <a:bodyPr/>
          <a:lstStyle/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>
                <a:sym typeface="Monotype Sorts"/>
              </a:rPr>
              <a:t>	</a:t>
            </a:r>
            <a:r>
              <a:rPr lang="en-US" dirty="0">
                <a:sym typeface="Monotype Sorts"/>
              </a:rPr>
              <a:t>  Research Question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>
                <a:latin typeface="Source Sans Pro Bold" panose="020B0703030403020204" pitchFamily="34" charset="0"/>
                <a:sym typeface="Monotype Sorts"/>
              </a:rPr>
              <a:t>	  </a:t>
            </a:r>
            <a:r>
              <a:rPr lang="en-US" dirty="0"/>
              <a:t>Introduction to Mapping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  <a:tabLst>
                <a:tab pos="444450" algn="l"/>
              </a:tabLst>
            </a:pPr>
            <a:r>
              <a:rPr lang="en-US" dirty="0">
                <a:latin typeface="Source Sans Pro Bold" panose="020B0703030403020204" pitchFamily="34" charset="0"/>
                <a:sym typeface="Monotype Sorts"/>
              </a:rPr>
              <a:t>	</a:t>
            </a:r>
            <a:r>
              <a:rPr lang="en-US" dirty="0"/>
              <a:t>Data Screening &amp; Descriptives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  <a:tabLst>
                <a:tab pos="444450" algn="l"/>
              </a:tabLst>
            </a:pPr>
            <a:r>
              <a:rPr lang="en-US" dirty="0" smtClean="0"/>
              <a:t>§	</a:t>
            </a:r>
            <a:r>
              <a:rPr lang="en-US" dirty="0">
                <a:latin typeface="Source Sans Pro Bold" panose="020B0703030403020204" pitchFamily="34" charset="0"/>
              </a:rPr>
              <a:t>Implementation in R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  <a:tabLst>
                <a:tab pos="444450" algn="l"/>
              </a:tabLst>
            </a:pPr>
            <a:r>
              <a:rPr lang="en-US" dirty="0">
                <a:sym typeface="Monotype Sorts"/>
              </a:rPr>
              <a:t>	</a:t>
            </a:r>
            <a:r>
              <a:rPr lang="en-US" dirty="0" smtClean="0">
                <a:sym typeface="Monotype Sorts"/>
              </a:rPr>
              <a:t>Summary</a:t>
            </a:r>
            <a:endParaRPr lang="en-US" dirty="0">
              <a:sym typeface="Monotype Sorts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  <a:tabLst>
                <a:tab pos="444450" algn="l"/>
              </a:tabLst>
            </a:pPr>
            <a:r>
              <a:rPr lang="de-CH" dirty="0" smtClean="0">
                <a:latin typeface="Source Sans Pro Light" panose="020B0403030403020204" pitchFamily="34" charset="0"/>
              </a:rPr>
              <a:t>	References</a:t>
            </a:r>
            <a:endParaRPr lang="en-US" dirty="0" smtClean="0">
              <a:latin typeface="Source Sans Pro Light" panose="020B0403030403020204" pitchFamily="34" charset="0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  <a:tabLst>
                <a:tab pos="444450" algn="l"/>
              </a:tabLst>
            </a:pPr>
            <a:r>
              <a:rPr lang="en-US" dirty="0">
                <a:sym typeface="Monotype Sorts"/>
              </a:rPr>
              <a:t>	</a:t>
            </a:r>
            <a:endParaRPr lang="en-US" dirty="0"/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  <a:tabLst>
                <a:tab pos="444450" algn="l"/>
              </a:tabLst>
            </a:pPr>
            <a:endParaRPr lang="en-US" dirty="0" smtClean="0"/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  <a:tabLst>
                <a:tab pos="444450" algn="l"/>
              </a:tabLst>
            </a:pPr>
            <a:endParaRPr lang="en-US" dirty="0"/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  <a:tabLst>
                <a:tab pos="444450" algn="l"/>
              </a:tabLst>
            </a:pPr>
            <a:r>
              <a:rPr lang="en-US" sz="2200" dirty="0">
                <a:sym typeface="Monotype Sorts"/>
              </a:rPr>
              <a:t>	</a:t>
            </a:r>
            <a:endParaRPr lang="en-US" dirty="0"/>
          </a:p>
          <a:p>
            <a:pPr marL="0" indent="0">
              <a:spcAft>
                <a:spcPts val="1200"/>
              </a:spcAft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dirty="0" smtClean="0"/>
              <a:t> </a:t>
            </a:r>
            <a:endParaRPr lang="en-US" dirty="0"/>
          </a:p>
        </p:txBody>
      </p:sp>
      <p:sp>
        <p:nvSpPr>
          <p:cNvPr id="24" name="Rectangle 23"/>
          <p:cNvSpPr/>
          <p:nvPr/>
        </p:nvSpPr>
        <p:spPr bwMode="auto">
          <a:xfrm>
            <a:off x="0" y="2"/>
            <a:ext cx="256928" cy="1196975"/>
          </a:xfrm>
          <a:prstGeom prst="rect">
            <a:avLst/>
          </a:prstGeom>
          <a:solidFill>
            <a:schemeClr val="accent6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29" tIns="45715" rIns="91429" bIns="45715" numCol="1" rtlCol="0" anchor="t" anchorCtr="0" compatLnSpc="1">
            <a:prstTxWarp prst="textNoShape">
              <a:avLst/>
            </a:prstTxWarp>
          </a:bodyPr>
          <a:lstStyle/>
          <a:p>
            <a:pPr defTabSz="914296"/>
            <a:endParaRPr lang="en-US" sz="2300" dirty="0">
              <a:latin typeface="Source Sans Pro Light"/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CH" b="1" dirty="0" smtClean="0">
                <a:solidFill>
                  <a:schemeClr val="bg1"/>
                </a:solidFill>
              </a:rPr>
              <a:t>Outline</a:t>
            </a:r>
            <a:endParaRPr lang="de-CH" b="1" dirty="0">
              <a:solidFill>
                <a:schemeClr val="bg1"/>
              </a:solidFill>
            </a:endParaRPr>
          </a:p>
        </p:txBody>
      </p:sp>
      <p:sp>
        <p:nvSpPr>
          <p:cNvPr id="6" name="Ellipse 5"/>
          <p:cNvSpPr/>
          <p:nvPr/>
        </p:nvSpPr>
        <p:spPr bwMode="auto">
          <a:xfrm>
            <a:off x="619125" y="2115750"/>
            <a:ext cx="288000" cy="288000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600" b="1" i="0" u="none" strike="noStrike" normalizeH="0" baseline="0" dirty="0" smtClean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Source Sans Pro Light" panose="020B0403030403020204" pitchFamily="34" charset="0"/>
                <a:sym typeface="Neutraface Text Book" charset="0"/>
              </a:rPr>
              <a:t>2</a:t>
            </a:r>
            <a:endParaRPr kumimoji="0" lang="de-CH" sz="1600" b="1" i="0" u="none" strike="noStrike" normalizeH="0" baseline="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Source Sans Pro Light" panose="020B0403030403020204" pitchFamily="34" charset="0"/>
              <a:sym typeface="Neutraface Text Book" charset="0"/>
            </a:endParaRPr>
          </a:p>
        </p:txBody>
      </p:sp>
      <p:sp>
        <p:nvSpPr>
          <p:cNvPr id="11" name="Ellipse 10"/>
          <p:cNvSpPr/>
          <p:nvPr/>
        </p:nvSpPr>
        <p:spPr bwMode="auto">
          <a:xfrm>
            <a:off x="616810" y="1700808"/>
            <a:ext cx="288000" cy="288000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600" b="1" i="0" u="none" strike="noStrike" normalizeH="0" baseline="0" dirty="0" smtClean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Source Sans Pro Light" panose="020B0403030403020204" pitchFamily="34" charset="0"/>
                <a:sym typeface="Neutraface Text Book" charset="0"/>
              </a:rPr>
              <a:t>1</a:t>
            </a:r>
            <a:endParaRPr kumimoji="0" lang="de-CH" sz="1600" b="1" i="0" u="none" strike="noStrike" normalizeH="0" baseline="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Source Sans Pro Light" panose="020B0403030403020204" pitchFamily="34" charset="0"/>
              <a:sym typeface="Neutraface Text Book" charset="0"/>
            </a:endParaRPr>
          </a:p>
        </p:txBody>
      </p:sp>
      <p:sp>
        <p:nvSpPr>
          <p:cNvPr id="13" name="Ellipse 12"/>
          <p:cNvSpPr/>
          <p:nvPr/>
        </p:nvSpPr>
        <p:spPr bwMode="auto">
          <a:xfrm>
            <a:off x="619125" y="2945991"/>
            <a:ext cx="288000" cy="288000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600" b="1" i="0" u="none" strike="noStrike" normalizeH="0" baseline="0" dirty="0" smtClean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Source Sans Pro Light" panose="020B0403030403020204" pitchFamily="34" charset="0"/>
                <a:sym typeface="Neutraface Text Book" charset="0"/>
              </a:rPr>
              <a:t>4</a:t>
            </a:r>
            <a:endParaRPr kumimoji="0" lang="de-CH" sz="1600" b="1" i="0" u="none" strike="noStrike" normalizeH="0" baseline="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Source Sans Pro Light" panose="020B0403030403020204" pitchFamily="34" charset="0"/>
              <a:sym typeface="Neutraface Text Book" charset="0"/>
            </a:endParaRPr>
          </a:p>
        </p:txBody>
      </p:sp>
      <p:grpSp>
        <p:nvGrpSpPr>
          <p:cNvPr id="17" name="Gruppieren 16"/>
          <p:cNvGrpSpPr/>
          <p:nvPr/>
        </p:nvGrpSpPr>
        <p:grpSpPr>
          <a:xfrm>
            <a:off x="0" y="6598784"/>
            <a:ext cx="9914384" cy="260648"/>
            <a:chOff x="0" y="6598784"/>
            <a:chExt cx="9914384" cy="260648"/>
          </a:xfrm>
        </p:grpSpPr>
        <p:grpSp>
          <p:nvGrpSpPr>
            <p:cNvPr id="18" name="Gruppieren 17"/>
            <p:cNvGrpSpPr/>
            <p:nvPr/>
          </p:nvGrpSpPr>
          <p:grpSpPr>
            <a:xfrm>
              <a:off x="0" y="6598784"/>
              <a:ext cx="9914384" cy="260648"/>
              <a:chOff x="0" y="6598784"/>
              <a:chExt cx="9914384" cy="260648"/>
            </a:xfrm>
          </p:grpSpPr>
          <p:sp>
            <p:nvSpPr>
              <p:cNvPr id="21" name="Rectangle 7"/>
              <p:cNvSpPr/>
              <p:nvPr>
                <p:custDataLst>
                  <p:tags r:id="rId1"/>
                </p:custDataLst>
              </p:nvPr>
            </p:nvSpPr>
            <p:spPr bwMode="auto">
              <a:xfrm>
                <a:off x="0" y="6614991"/>
                <a:ext cx="5601072" cy="243009"/>
              </a:xfrm>
              <a:prstGeom prst="rect">
                <a:avLst/>
              </a:prstGeom>
              <a:solidFill>
                <a:schemeClr val="tx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29" tIns="0" rIns="91429" bIns="45715" numCol="1" rtlCol="0" anchor="t" anchorCtr="0" compatLnSpc="1">
                <a:prstTxWarp prst="textNoShape">
                  <a:avLst/>
                </a:prstTxWarp>
              </a:bodyPr>
              <a:lstStyle/>
              <a:p>
                <a:r>
                  <a:rPr lang="en-US" sz="1200" dirty="0" smtClean="0">
                    <a:solidFill>
                      <a:schemeClr val="bg1">
                        <a:lumMod val="75000"/>
                      </a:schemeClr>
                    </a:solidFill>
                    <a:latin typeface="Source Sans Pro Light" panose="020B0403030403020204" pitchFamily="34" charset="0"/>
                    <a:cs typeface="Source Sans Pro Light"/>
                  </a:rPr>
                  <a:t>Mapping Customers |       Implementation in R</a:t>
                </a:r>
                <a:endParaRPr lang="en-US" sz="1200" dirty="0">
                  <a:solidFill>
                    <a:schemeClr val="bg1">
                      <a:lumMod val="75000"/>
                    </a:schemeClr>
                  </a:solidFill>
                  <a:latin typeface="Source Sans Pro Light" panose="020B0403030403020204" pitchFamily="34" charset="0"/>
                  <a:cs typeface="Source Sans Pro"/>
                </a:endParaRPr>
              </a:p>
            </p:txBody>
          </p:sp>
          <p:sp>
            <p:nvSpPr>
              <p:cNvPr id="20" name="Rectangle 7"/>
              <p:cNvSpPr/>
              <p:nvPr>
                <p:custDataLst>
                  <p:tags r:id="rId2"/>
                </p:custDataLst>
              </p:nvPr>
            </p:nvSpPr>
            <p:spPr bwMode="auto">
              <a:xfrm>
                <a:off x="5673080" y="6598784"/>
                <a:ext cx="4241304" cy="260648"/>
              </a:xfrm>
              <a:prstGeom prst="rect">
                <a:avLst/>
              </a:prstGeom>
              <a:solidFill>
                <a:schemeClr val="tx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29" tIns="0" rIns="91429" bIns="45715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r"/>
                <a:r>
                  <a:rPr lang="en-US" sz="1200" dirty="0" smtClean="0">
                    <a:solidFill>
                      <a:schemeClr val="bg1">
                        <a:lumMod val="75000"/>
                      </a:schemeClr>
                    </a:solidFill>
                    <a:latin typeface="Source Sans Pro Light" panose="020B0403030403020204" pitchFamily="34" charset="0"/>
                    <a:cs typeface="Source Sans Pro"/>
                    <a:sym typeface="Monotype Sorts"/>
                  </a:rPr>
                  <a:t>Salome </a:t>
                </a:r>
                <a:r>
                  <a:rPr lang="en-US" sz="1200" dirty="0">
                    <a:solidFill>
                      <a:schemeClr val="bg1">
                        <a:lumMod val="75000"/>
                      </a:schemeClr>
                    </a:solidFill>
                    <a:latin typeface="Source Sans Pro Light" panose="020B0403030403020204" pitchFamily="34" charset="0"/>
                    <a:cs typeface="Source Sans Pro"/>
                    <a:sym typeface="Monotype Sorts"/>
                  </a:rPr>
                  <a:t>Lang</a:t>
                </a:r>
              </a:p>
            </p:txBody>
          </p:sp>
        </p:grpSp>
        <p:sp>
          <p:nvSpPr>
            <p:cNvPr id="23" name="Ellipse 22"/>
            <p:cNvSpPr/>
            <p:nvPr/>
          </p:nvSpPr>
          <p:spPr bwMode="auto">
            <a:xfrm>
              <a:off x="1460624" y="6655292"/>
              <a:ext cx="108000" cy="108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CH" sz="850" b="1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Source Sans Pro Light" panose="020B0403030403020204" pitchFamily="34" charset="0"/>
                </a:rPr>
                <a:t>4</a:t>
              </a:r>
              <a:endParaRPr kumimoji="0" lang="de-CH" sz="850" b="1" i="0" u="none" strike="noStrike" normalizeH="0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Source Sans Pro Light" panose="020B0403030403020204" pitchFamily="34" charset="0"/>
                <a:sym typeface="Neutraface Text Book" charset="0"/>
              </a:endParaRPr>
            </a:p>
          </p:txBody>
        </p:sp>
      </p:grpSp>
      <p:sp>
        <p:nvSpPr>
          <p:cNvPr id="22" name="Ellipse 21"/>
          <p:cNvSpPr/>
          <p:nvPr/>
        </p:nvSpPr>
        <p:spPr bwMode="auto">
          <a:xfrm>
            <a:off x="619125" y="2535971"/>
            <a:ext cx="288000" cy="288000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CH" sz="1600" b="1" dirty="0" smtClean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Source Sans Pro Light" panose="020B0403030403020204" pitchFamily="34" charset="0"/>
              </a:rPr>
              <a:t>3</a:t>
            </a:r>
            <a:endParaRPr kumimoji="0" lang="de-CH" sz="1600" b="1" i="0" u="none" strike="noStrike" normalizeH="0" baseline="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Source Sans Pro Light" panose="020B0403030403020204" pitchFamily="34" charset="0"/>
              <a:sym typeface="Neutraface Text Book" charset="0"/>
            </a:endParaRPr>
          </a:p>
        </p:txBody>
      </p:sp>
      <p:sp>
        <p:nvSpPr>
          <p:cNvPr id="37" name="Ellipse 36"/>
          <p:cNvSpPr/>
          <p:nvPr/>
        </p:nvSpPr>
        <p:spPr bwMode="auto">
          <a:xfrm>
            <a:off x="618904" y="3356992"/>
            <a:ext cx="288000" cy="288000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600" b="1" i="0" u="none" strike="noStrike" normalizeH="0" baseline="0" dirty="0" smtClean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Source Sans Pro Light" panose="020B0403030403020204" pitchFamily="34" charset="0"/>
                <a:sym typeface="Neutraface Text Book" charset="0"/>
              </a:rPr>
              <a:t>5</a:t>
            </a:r>
            <a:endParaRPr kumimoji="0" lang="de-CH" sz="1600" b="1" i="0" u="none" strike="noStrike" normalizeH="0" baseline="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Source Sans Pro Light" panose="020B0403030403020204" pitchFamily="34" charset="0"/>
              <a:sym typeface="Neutraface Text Book" charset="0"/>
            </a:endParaRPr>
          </a:p>
        </p:txBody>
      </p:sp>
      <p:sp>
        <p:nvSpPr>
          <p:cNvPr id="19" name="Ellipse 18"/>
          <p:cNvSpPr/>
          <p:nvPr/>
        </p:nvSpPr>
        <p:spPr bwMode="auto">
          <a:xfrm>
            <a:off x="618872" y="3777213"/>
            <a:ext cx="288000" cy="288000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CH" sz="1600" b="1" dirty="0" smtClean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Source Sans Pro Light" panose="020B0403030403020204" pitchFamily="34" charset="0"/>
              </a:rPr>
              <a:t>6</a:t>
            </a:r>
            <a:endParaRPr kumimoji="0" lang="de-CH" sz="1600" b="1" i="0" u="none" strike="noStrike" normalizeH="0" baseline="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Source Sans Pro Light" panose="020B0403030403020204" pitchFamily="34" charset="0"/>
              <a:sym typeface="Neutraface Text Boo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9547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If you remember anything of this presentation, it should be these two points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 smtClean="0"/>
              <a:t>There are two lines of code that may cost you an awful lot of time when dealing with maps</a:t>
            </a:r>
          </a:p>
          <a:p>
            <a:pPr lvl="1"/>
            <a:r>
              <a:rPr lang="en-GB" dirty="0" smtClean="0"/>
              <a:t>About merging attributes to shapefiles: </a:t>
            </a:r>
            <a:r>
              <a:rPr lang="en-GB" dirty="0" smtClean="0">
                <a:latin typeface="Source Sans Pro Bold" panose="020B0604020202020204" charset="0"/>
                <a:cs typeface="Source Sans Pro Bold" panose="020B0604020202020204" charset="0"/>
              </a:rPr>
              <a:t>Don’t touch the polygons!</a:t>
            </a:r>
          </a:p>
          <a:p>
            <a:pPr lvl="1"/>
            <a:r>
              <a:rPr lang="en-GB" dirty="0" smtClean="0"/>
              <a:t>If you want to plot your map on a base map to enable zoom and interactive features: </a:t>
            </a:r>
            <a:r>
              <a:rPr lang="en-GB" dirty="0">
                <a:latin typeface="Source Sans Pro Bold" panose="020B0604020202020204" charset="0"/>
                <a:cs typeface="Source Sans Pro Bold" panose="020B0604020202020204" charset="0"/>
              </a:rPr>
              <a:t>C</a:t>
            </a:r>
            <a:r>
              <a:rPr lang="en-GB" dirty="0" smtClean="0">
                <a:latin typeface="Source Sans Pro Bold" panose="020B0604020202020204" charset="0"/>
                <a:cs typeface="Source Sans Pro Bold" panose="020B0604020202020204" charset="0"/>
              </a:rPr>
              <a:t>heck the Coordinate Reference Systems (CSR) of the maps!</a:t>
            </a:r>
          </a:p>
          <a:p>
            <a:pPr lvl="1"/>
            <a:endParaRPr lang="en-GB" dirty="0" smtClean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b="1" dirty="0" smtClean="0">
                <a:solidFill>
                  <a:schemeClr val="bg1"/>
                </a:solidFill>
              </a:rPr>
              <a:t>Implementation</a:t>
            </a:r>
            <a:endParaRPr lang="en-GB" b="1" dirty="0">
              <a:solidFill>
                <a:schemeClr val="bg1"/>
              </a:solidFill>
            </a:endParaRPr>
          </a:p>
        </p:txBody>
      </p:sp>
      <p:grpSp>
        <p:nvGrpSpPr>
          <p:cNvPr id="6" name="Gruppieren 5"/>
          <p:cNvGrpSpPr/>
          <p:nvPr/>
        </p:nvGrpSpPr>
        <p:grpSpPr>
          <a:xfrm>
            <a:off x="0" y="6598784"/>
            <a:ext cx="9914384" cy="260648"/>
            <a:chOff x="0" y="6598784"/>
            <a:chExt cx="9914384" cy="260648"/>
          </a:xfrm>
        </p:grpSpPr>
        <p:grpSp>
          <p:nvGrpSpPr>
            <p:cNvPr id="7" name="Gruppieren 6"/>
            <p:cNvGrpSpPr/>
            <p:nvPr/>
          </p:nvGrpSpPr>
          <p:grpSpPr>
            <a:xfrm>
              <a:off x="0" y="6598784"/>
              <a:ext cx="9914384" cy="260648"/>
              <a:chOff x="0" y="6598784"/>
              <a:chExt cx="9914384" cy="260648"/>
            </a:xfrm>
          </p:grpSpPr>
          <p:sp>
            <p:nvSpPr>
              <p:cNvPr id="9" name="Rectangle 7"/>
              <p:cNvSpPr/>
              <p:nvPr>
                <p:custDataLst>
                  <p:tags r:id="rId1"/>
                </p:custDataLst>
              </p:nvPr>
            </p:nvSpPr>
            <p:spPr bwMode="auto">
              <a:xfrm>
                <a:off x="0" y="6614991"/>
                <a:ext cx="5601072" cy="243009"/>
              </a:xfrm>
              <a:prstGeom prst="rect">
                <a:avLst/>
              </a:prstGeom>
              <a:solidFill>
                <a:schemeClr val="tx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29" tIns="0" rIns="91429" bIns="45715" numCol="1" rtlCol="0" anchor="t" anchorCtr="0" compatLnSpc="1">
                <a:prstTxWarp prst="textNoShape">
                  <a:avLst/>
                </a:prstTxWarp>
              </a:bodyPr>
              <a:lstStyle/>
              <a:p>
                <a:r>
                  <a:rPr lang="en-US" sz="1200" dirty="0" smtClean="0">
                    <a:solidFill>
                      <a:schemeClr val="bg1">
                        <a:lumMod val="75000"/>
                      </a:schemeClr>
                    </a:solidFill>
                    <a:latin typeface="Source Sans Pro Light" panose="020B0403030403020204" pitchFamily="34" charset="0"/>
                    <a:cs typeface="Source Sans Pro Light"/>
                  </a:rPr>
                  <a:t>Mapping Customers |       Implementation in R</a:t>
                </a:r>
                <a:endParaRPr lang="en-US" sz="1200" dirty="0">
                  <a:solidFill>
                    <a:schemeClr val="bg1">
                      <a:lumMod val="75000"/>
                    </a:schemeClr>
                  </a:solidFill>
                  <a:latin typeface="Source Sans Pro Light" panose="020B0403030403020204" pitchFamily="34" charset="0"/>
                  <a:cs typeface="Source Sans Pro"/>
                </a:endParaRPr>
              </a:p>
            </p:txBody>
          </p:sp>
          <p:sp>
            <p:nvSpPr>
              <p:cNvPr id="10" name="Rectangle 7"/>
              <p:cNvSpPr/>
              <p:nvPr>
                <p:custDataLst>
                  <p:tags r:id="rId2"/>
                </p:custDataLst>
              </p:nvPr>
            </p:nvSpPr>
            <p:spPr bwMode="auto">
              <a:xfrm>
                <a:off x="5673080" y="6598784"/>
                <a:ext cx="4241304" cy="260648"/>
              </a:xfrm>
              <a:prstGeom prst="rect">
                <a:avLst/>
              </a:prstGeom>
              <a:solidFill>
                <a:schemeClr val="tx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29" tIns="0" rIns="91429" bIns="45715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r"/>
                <a:r>
                  <a:rPr lang="en-US" sz="1200" dirty="0" smtClean="0">
                    <a:solidFill>
                      <a:schemeClr val="bg1">
                        <a:lumMod val="75000"/>
                      </a:schemeClr>
                    </a:solidFill>
                    <a:latin typeface="Source Sans Pro Light" panose="020B0403030403020204" pitchFamily="34" charset="0"/>
                    <a:cs typeface="Source Sans Pro"/>
                    <a:sym typeface="Monotype Sorts"/>
                  </a:rPr>
                  <a:t>Salome </a:t>
                </a:r>
                <a:r>
                  <a:rPr lang="en-US" sz="1200" dirty="0">
                    <a:solidFill>
                      <a:schemeClr val="bg1">
                        <a:lumMod val="75000"/>
                      </a:schemeClr>
                    </a:solidFill>
                    <a:latin typeface="Source Sans Pro Light" panose="020B0403030403020204" pitchFamily="34" charset="0"/>
                    <a:cs typeface="Source Sans Pro"/>
                    <a:sym typeface="Monotype Sorts"/>
                  </a:rPr>
                  <a:t>Lang</a:t>
                </a:r>
              </a:p>
            </p:txBody>
          </p:sp>
        </p:grpSp>
        <p:sp>
          <p:nvSpPr>
            <p:cNvPr id="8" name="Ellipse 7"/>
            <p:cNvSpPr/>
            <p:nvPr/>
          </p:nvSpPr>
          <p:spPr bwMode="auto">
            <a:xfrm>
              <a:off x="1460624" y="6655292"/>
              <a:ext cx="108000" cy="108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CH" sz="850" b="1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Source Sans Pro Light" panose="020B0403030403020204" pitchFamily="34" charset="0"/>
                </a:rPr>
                <a:t>3</a:t>
              </a:r>
              <a:endParaRPr kumimoji="0" lang="de-CH" sz="850" b="1" i="0" u="none" strike="noStrike" normalizeH="0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Source Sans Pro Light" panose="020B0403030403020204" pitchFamily="34" charset="0"/>
                <a:sym typeface="Neutraface Text Book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63366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This the map for the number of customers  weighted by population density…</a:t>
            </a:r>
            <a:endParaRPr lang="en-GB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b="1" dirty="0" smtClean="0">
                <a:solidFill>
                  <a:schemeClr val="bg1"/>
                </a:solidFill>
              </a:rPr>
              <a:t>Maps</a:t>
            </a:r>
            <a:endParaRPr lang="en-GB" b="1" dirty="0">
              <a:solidFill>
                <a:schemeClr val="bg1"/>
              </a:solidFill>
            </a:endParaRPr>
          </a:p>
        </p:txBody>
      </p:sp>
      <p:grpSp>
        <p:nvGrpSpPr>
          <p:cNvPr id="7" name="Gruppieren 6"/>
          <p:cNvGrpSpPr/>
          <p:nvPr/>
        </p:nvGrpSpPr>
        <p:grpSpPr>
          <a:xfrm>
            <a:off x="0" y="6598784"/>
            <a:ext cx="9914384" cy="260648"/>
            <a:chOff x="0" y="6598784"/>
            <a:chExt cx="9914384" cy="260648"/>
          </a:xfrm>
        </p:grpSpPr>
        <p:grpSp>
          <p:nvGrpSpPr>
            <p:cNvPr id="8" name="Gruppieren 7"/>
            <p:cNvGrpSpPr/>
            <p:nvPr/>
          </p:nvGrpSpPr>
          <p:grpSpPr>
            <a:xfrm>
              <a:off x="0" y="6598784"/>
              <a:ext cx="9914384" cy="260648"/>
              <a:chOff x="0" y="6598784"/>
              <a:chExt cx="9914384" cy="260648"/>
            </a:xfrm>
          </p:grpSpPr>
          <p:sp>
            <p:nvSpPr>
              <p:cNvPr id="10" name="Rectangle 7"/>
              <p:cNvSpPr/>
              <p:nvPr>
                <p:custDataLst>
                  <p:tags r:id="rId1"/>
                </p:custDataLst>
              </p:nvPr>
            </p:nvSpPr>
            <p:spPr bwMode="auto">
              <a:xfrm>
                <a:off x="0" y="6614991"/>
                <a:ext cx="5601072" cy="243009"/>
              </a:xfrm>
              <a:prstGeom prst="rect">
                <a:avLst/>
              </a:prstGeom>
              <a:solidFill>
                <a:schemeClr val="tx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29" tIns="0" rIns="91429" bIns="45715" numCol="1" rtlCol="0" anchor="t" anchorCtr="0" compatLnSpc="1">
                <a:prstTxWarp prst="textNoShape">
                  <a:avLst/>
                </a:prstTxWarp>
              </a:bodyPr>
              <a:lstStyle/>
              <a:p>
                <a:r>
                  <a:rPr lang="en-US" sz="1200" dirty="0" smtClean="0">
                    <a:solidFill>
                      <a:schemeClr val="bg1">
                        <a:lumMod val="75000"/>
                      </a:schemeClr>
                    </a:solidFill>
                    <a:latin typeface="Source Sans Pro Light" panose="020B0403030403020204" pitchFamily="34" charset="0"/>
                    <a:cs typeface="Source Sans Pro Light"/>
                  </a:rPr>
                  <a:t>Mapping Customers |       Implementation in R</a:t>
                </a:r>
                <a:endParaRPr lang="en-US" sz="1200" dirty="0">
                  <a:solidFill>
                    <a:schemeClr val="bg1">
                      <a:lumMod val="75000"/>
                    </a:schemeClr>
                  </a:solidFill>
                  <a:latin typeface="Source Sans Pro Light" panose="020B0403030403020204" pitchFamily="34" charset="0"/>
                  <a:cs typeface="Source Sans Pro"/>
                </a:endParaRPr>
              </a:p>
            </p:txBody>
          </p:sp>
          <p:sp>
            <p:nvSpPr>
              <p:cNvPr id="11" name="Rectangle 7"/>
              <p:cNvSpPr/>
              <p:nvPr>
                <p:custDataLst>
                  <p:tags r:id="rId2"/>
                </p:custDataLst>
              </p:nvPr>
            </p:nvSpPr>
            <p:spPr bwMode="auto">
              <a:xfrm>
                <a:off x="5673080" y="6598784"/>
                <a:ext cx="4241304" cy="260648"/>
              </a:xfrm>
              <a:prstGeom prst="rect">
                <a:avLst/>
              </a:prstGeom>
              <a:solidFill>
                <a:schemeClr val="tx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29" tIns="0" rIns="91429" bIns="45715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r"/>
                <a:r>
                  <a:rPr lang="en-US" sz="1200" dirty="0" smtClean="0">
                    <a:solidFill>
                      <a:schemeClr val="bg1">
                        <a:lumMod val="75000"/>
                      </a:schemeClr>
                    </a:solidFill>
                    <a:latin typeface="Source Sans Pro Light" panose="020B0403030403020204" pitchFamily="34" charset="0"/>
                    <a:cs typeface="Source Sans Pro"/>
                    <a:sym typeface="Monotype Sorts"/>
                  </a:rPr>
                  <a:t>Salome </a:t>
                </a:r>
                <a:r>
                  <a:rPr lang="en-US" sz="1200" dirty="0">
                    <a:solidFill>
                      <a:schemeClr val="bg1">
                        <a:lumMod val="75000"/>
                      </a:schemeClr>
                    </a:solidFill>
                    <a:latin typeface="Source Sans Pro Light" panose="020B0403030403020204" pitchFamily="34" charset="0"/>
                    <a:cs typeface="Source Sans Pro"/>
                    <a:sym typeface="Monotype Sorts"/>
                  </a:rPr>
                  <a:t>Lang</a:t>
                </a:r>
              </a:p>
            </p:txBody>
          </p:sp>
        </p:grpSp>
        <p:sp>
          <p:nvSpPr>
            <p:cNvPr id="9" name="Ellipse 8"/>
            <p:cNvSpPr/>
            <p:nvPr/>
          </p:nvSpPr>
          <p:spPr bwMode="auto">
            <a:xfrm>
              <a:off x="1460624" y="6655292"/>
              <a:ext cx="108000" cy="108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CH" sz="850" b="1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Source Sans Pro Light" panose="020B0403030403020204" pitchFamily="34" charset="0"/>
                </a:rPr>
                <a:t>3</a:t>
              </a:r>
              <a:endParaRPr kumimoji="0" lang="de-CH" sz="850" b="1" i="0" u="none" strike="noStrike" normalizeH="0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Source Sans Pro Light" panose="020B0403030403020204" pitchFamily="34" charset="0"/>
                <a:sym typeface="Neutraface Text Book" charset="0"/>
              </a:endParaRPr>
            </a:p>
          </p:txBody>
        </p:sp>
      </p:grpSp>
      <p:pic>
        <p:nvPicPr>
          <p:cNvPr id="5" name="Grafik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5606" y="1556792"/>
            <a:ext cx="8074789" cy="50047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5786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…and it has pop ups and a zoom</a:t>
            </a:r>
            <a:endParaRPr lang="en-GB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b="1" dirty="0" smtClean="0">
                <a:solidFill>
                  <a:schemeClr val="bg1"/>
                </a:solidFill>
              </a:rPr>
              <a:t>Maps</a:t>
            </a:r>
            <a:endParaRPr lang="en-GB" b="1" dirty="0">
              <a:solidFill>
                <a:schemeClr val="bg1"/>
              </a:solidFill>
            </a:endParaRPr>
          </a:p>
        </p:txBody>
      </p:sp>
      <p:grpSp>
        <p:nvGrpSpPr>
          <p:cNvPr id="7" name="Gruppieren 6"/>
          <p:cNvGrpSpPr/>
          <p:nvPr/>
        </p:nvGrpSpPr>
        <p:grpSpPr>
          <a:xfrm>
            <a:off x="0" y="6598784"/>
            <a:ext cx="9914384" cy="260648"/>
            <a:chOff x="0" y="6598784"/>
            <a:chExt cx="9914384" cy="260648"/>
          </a:xfrm>
        </p:grpSpPr>
        <p:grpSp>
          <p:nvGrpSpPr>
            <p:cNvPr id="8" name="Gruppieren 7"/>
            <p:cNvGrpSpPr/>
            <p:nvPr/>
          </p:nvGrpSpPr>
          <p:grpSpPr>
            <a:xfrm>
              <a:off x="0" y="6598784"/>
              <a:ext cx="9914384" cy="260648"/>
              <a:chOff x="0" y="6598784"/>
              <a:chExt cx="9914384" cy="260648"/>
            </a:xfrm>
          </p:grpSpPr>
          <p:sp>
            <p:nvSpPr>
              <p:cNvPr id="10" name="Rectangle 7"/>
              <p:cNvSpPr/>
              <p:nvPr>
                <p:custDataLst>
                  <p:tags r:id="rId3"/>
                </p:custDataLst>
              </p:nvPr>
            </p:nvSpPr>
            <p:spPr bwMode="auto">
              <a:xfrm>
                <a:off x="0" y="6614991"/>
                <a:ext cx="5601072" cy="243009"/>
              </a:xfrm>
              <a:prstGeom prst="rect">
                <a:avLst/>
              </a:prstGeom>
              <a:solidFill>
                <a:schemeClr val="tx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29" tIns="0" rIns="91429" bIns="45715" numCol="1" rtlCol="0" anchor="t" anchorCtr="0" compatLnSpc="1">
                <a:prstTxWarp prst="textNoShape">
                  <a:avLst/>
                </a:prstTxWarp>
              </a:bodyPr>
              <a:lstStyle/>
              <a:p>
                <a:r>
                  <a:rPr lang="en-US" sz="1200" dirty="0" smtClean="0">
                    <a:solidFill>
                      <a:schemeClr val="bg1">
                        <a:lumMod val="75000"/>
                      </a:schemeClr>
                    </a:solidFill>
                    <a:latin typeface="Source Sans Pro Light" panose="020B0403030403020204" pitchFamily="34" charset="0"/>
                    <a:cs typeface="Source Sans Pro Light"/>
                  </a:rPr>
                  <a:t>Mapping Customers |       Implementation in R</a:t>
                </a:r>
                <a:endParaRPr lang="en-US" sz="1200" dirty="0">
                  <a:solidFill>
                    <a:schemeClr val="bg1">
                      <a:lumMod val="75000"/>
                    </a:schemeClr>
                  </a:solidFill>
                  <a:latin typeface="Source Sans Pro Light" panose="020B0403030403020204" pitchFamily="34" charset="0"/>
                  <a:cs typeface="Source Sans Pro"/>
                </a:endParaRPr>
              </a:p>
            </p:txBody>
          </p:sp>
          <p:sp>
            <p:nvSpPr>
              <p:cNvPr id="11" name="Rectangle 7"/>
              <p:cNvSpPr/>
              <p:nvPr>
                <p:custDataLst>
                  <p:tags r:id="rId4"/>
                </p:custDataLst>
              </p:nvPr>
            </p:nvSpPr>
            <p:spPr bwMode="auto">
              <a:xfrm>
                <a:off x="5673080" y="6598784"/>
                <a:ext cx="4241304" cy="260648"/>
              </a:xfrm>
              <a:prstGeom prst="rect">
                <a:avLst/>
              </a:prstGeom>
              <a:solidFill>
                <a:schemeClr val="tx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29" tIns="0" rIns="91429" bIns="45715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r"/>
                <a:r>
                  <a:rPr lang="en-US" sz="1200" dirty="0" smtClean="0">
                    <a:solidFill>
                      <a:schemeClr val="bg1">
                        <a:lumMod val="75000"/>
                      </a:schemeClr>
                    </a:solidFill>
                    <a:latin typeface="Source Sans Pro Light" panose="020B0403030403020204" pitchFamily="34" charset="0"/>
                    <a:cs typeface="Source Sans Pro"/>
                    <a:sym typeface="Monotype Sorts"/>
                  </a:rPr>
                  <a:t>Salome </a:t>
                </a:r>
                <a:r>
                  <a:rPr lang="en-US" sz="1200" dirty="0">
                    <a:solidFill>
                      <a:schemeClr val="bg1">
                        <a:lumMod val="75000"/>
                      </a:schemeClr>
                    </a:solidFill>
                    <a:latin typeface="Source Sans Pro Light" panose="020B0403030403020204" pitchFamily="34" charset="0"/>
                    <a:cs typeface="Source Sans Pro"/>
                    <a:sym typeface="Monotype Sorts"/>
                  </a:rPr>
                  <a:t>Lang</a:t>
                </a:r>
              </a:p>
            </p:txBody>
          </p:sp>
        </p:grpSp>
        <p:sp>
          <p:nvSpPr>
            <p:cNvPr id="9" name="Ellipse 8"/>
            <p:cNvSpPr/>
            <p:nvPr/>
          </p:nvSpPr>
          <p:spPr bwMode="auto">
            <a:xfrm>
              <a:off x="1460624" y="6655292"/>
              <a:ext cx="108000" cy="108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CH" sz="850" b="1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Source Sans Pro Light" panose="020B0403030403020204" pitchFamily="34" charset="0"/>
                </a:rPr>
                <a:t>3</a:t>
              </a:r>
              <a:endParaRPr kumimoji="0" lang="de-CH" sz="850" b="1" i="0" u="none" strike="noStrike" normalizeH="0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Source Sans Pro Light" panose="020B0403030403020204" pitchFamily="34" charset="0"/>
                <a:sym typeface="Neutraface Text Book" charset="0"/>
              </a:endParaRPr>
            </a:p>
          </p:txBody>
        </p:sp>
      </p:grpSp>
      <p:pic>
        <p:nvPicPr>
          <p:cNvPr id="4" name="Grafik 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1165" y="1502425"/>
            <a:ext cx="6783670" cy="4492976"/>
          </a:xfrm>
          <a:prstGeom prst="rect">
            <a:avLst/>
          </a:prstGeom>
        </p:spPr>
      </p:pic>
      <p:sp>
        <p:nvSpPr>
          <p:cNvPr id="12" name="Rounded Rectangular Callout 7"/>
          <p:cNvSpPr/>
          <p:nvPr>
            <p:custDataLst>
              <p:tags r:id="rId1"/>
            </p:custDataLst>
          </p:nvPr>
        </p:nvSpPr>
        <p:spPr bwMode="auto">
          <a:xfrm>
            <a:off x="20443" y="2060848"/>
            <a:ext cx="1548182" cy="761830"/>
          </a:xfrm>
          <a:prstGeom prst="wedgeRoundRectCallout">
            <a:avLst>
              <a:gd name="adj1" fmla="val 51634"/>
              <a:gd name="adj2" fmla="val -89435"/>
              <a:gd name="adj3" fmla="val 16667"/>
            </a:avLst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</a:bodyPr>
          <a:lstStyle/>
          <a:p>
            <a:pPr defTabSz="914296"/>
            <a:r>
              <a:rPr lang="en-GB" sz="1200" dirty="0" smtClean="0">
                <a:latin typeface="Source Sans Pro Light"/>
                <a:cs typeface="Source Sans Pro Light"/>
              </a:rPr>
              <a:t>Zoom in and profit from all features of OSM</a:t>
            </a:r>
            <a:endParaRPr lang="en-GB" sz="1200" dirty="0">
              <a:latin typeface="Source Sans Pro Light"/>
              <a:cs typeface="Source Sans Pro Light"/>
            </a:endParaRPr>
          </a:p>
        </p:txBody>
      </p:sp>
      <p:sp>
        <p:nvSpPr>
          <p:cNvPr id="13" name="Rounded Rectangular Callout 7"/>
          <p:cNvSpPr/>
          <p:nvPr>
            <p:custDataLst>
              <p:tags r:id="rId2"/>
            </p:custDataLst>
          </p:nvPr>
        </p:nvSpPr>
        <p:spPr bwMode="auto">
          <a:xfrm>
            <a:off x="5493050" y="740595"/>
            <a:ext cx="1548182" cy="761830"/>
          </a:xfrm>
          <a:prstGeom prst="wedgeRoundRectCallout">
            <a:avLst>
              <a:gd name="adj1" fmla="val -128198"/>
              <a:gd name="adj2" fmla="val 306474"/>
              <a:gd name="adj3" fmla="val 16667"/>
            </a:avLst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</a:bodyPr>
          <a:lstStyle/>
          <a:p>
            <a:pPr defTabSz="914296"/>
            <a:r>
              <a:rPr lang="en-GB" sz="1200" dirty="0" smtClean="0">
                <a:latin typeface="Source Sans Pro Light"/>
                <a:cs typeface="Source Sans Pro Light"/>
              </a:rPr>
              <a:t>Click on a ZIP code area to get more information</a:t>
            </a:r>
            <a:endParaRPr lang="en-GB" sz="1200" dirty="0">
              <a:latin typeface="Source Sans Pro Light"/>
              <a:cs typeface="Source Sans Pro Light"/>
            </a:endParaRPr>
          </a:p>
        </p:txBody>
      </p:sp>
    </p:spTree>
    <p:extLst>
      <p:ext uri="{BB962C8B-B14F-4D97-AF65-F5344CB8AC3E}">
        <p14:creationId xmlns:p14="http://schemas.microsoft.com/office/powerpoint/2010/main" val="3534513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pping Customers</a:t>
            </a:r>
            <a:r>
              <a:rPr lang="en-US" dirty="0" smtClean="0">
                <a:latin typeface="Source Sans Pro Semibold"/>
                <a:cs typeface="Source Sans Pro Semibold"/>
              </a:rPr>
              <a:t/>
            </a:r>
            <a:br>
              <a:rPr lang="en-US" dirty="0" smtClean="0">
                <a:latin typeface="Source Sans Pro Semibold"/>
                <a:cs typeface="Source Sans Pro Semibold"/>
              </a:rPr>
            </a:br>
            <a:r>
              <a:rPr lang="en-US" b="1" dirty="0" smtClean="0">
                <a:latin typeface="Source Sans Pro Semibold"/>
                <a:cs typeface="Source Sans Pro Semibold"/>
              </a:rPr>
              <a:t>Agenda</a:t>
            </a:r>
            <a:endParaRPr lang="en-US" b="1" dirty="0">
              <a:latin typeface="Source Sans Pro Semibold"/>
              <a:cs typeface="Source Sans Pro Semibold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9125" y="1564803"/>
            <a:ext cx="8667750" cy="4384477"/>
          </a:xfrm>
        </p:spPr>
        <p:txBody>
          <a:bodyPr/>
          <a:lstStyle/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>
                <a:sym typeface="Monotype Sorts"/>
              </a:rPr>
              <a:t>	</a:t>
            </a:r>
            <a:r>
              <a:rPr lang="en-US" dirty="0">
                <a:sym typeface="Monotype Sorts"/>
              </a:rPr>
              <a:t>  Research Question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>
                <a:latin typeface="Source Sans Pro Bold" panose="020B0703030403020204" pitchFamily="34" charset="0"/>
                <a:sym typeface="Monotype Sorts"/>
              </a:rPr>
              <a:t>	  </a:t>
            </a:r>
            <a:r>
              <a:rPr lang="en-US" dirty="0"/>
              <a:t>Introduction to Mapping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  <a:tabLst>
                <a:tab pos="444450" algn="l"/>
              </a:tabLst>
            </a:pPr>
            <a:r>
              <a:rPr lang="en-US" dirty="0">
                <a:latin typeface="Source Sans Pro Bold" panose="020B0703030403020204" pitchFamily="34" charset="0"/>
                <a:sym typeface="Monotype Sorts"/>
              </a:rPr>
              <a:t>	</a:t>
            </a:r>
            <a:r>
              <a:rPr lang="en-US" dirty="0"/>
              <a:t>Data Screening &amp; Descriptives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  <a:tabLst>
                <a:tab pos="444450" algn="l"/>
              </a:tabLst>
            </a:pPr>
            <a:r>
              <a:rPr lang="en-US" dirty="0" smtClean="0"/>
              <a:t>§	</a:t>
            </a:r>
            <a:r>
              <a:rPr lang="en-US" dirty="0"/>
              <a:t>Implementation in R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  <a:tabLst>
                <a:tab pos="444450" algn="l"/>
              </a:tabLst>
            </a:pPr>
            <a:r>
              <a:rPr lang="en-US" dirty="0">
                <a:sym typeface="Monotype Sorts"/>
              </a:rPr>
              <a:t>	</a:t>
            </a:r>
            <a:r>
              <a:rPr lang="en-US" dirty="0">
                <a:latin typeface="Source Sans Pro Bold" panose="020B0703030403020204" pitchFamily="34" charset="0"/>
                <a:sym typeface="Monotype Sorts"/>
              </a:rPr>
              <a:t>Summary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  <a:tabLst>
                <a:tab pos="444450" algn="l"/>
              </a:tabLst>
            </a:pPr>
            <a:r>
              <a:rPr lang="de-CH" dirty="0" smtClean="0">
                <a:latin typeface="Source Sans Pro Light" panose="020B0403030403020204" pitchFamily="34" charset="0"/>
              </a:rPr>
              <a:t>	References</a:t>
            </a:r>
            <a:endParaRPr lang="en-US" dirty="0" smtClean="0">
              <a:latin typeface="Source Sans Pro Light" panose="020B0403030403020204" pitchFamily="34" charset="0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  <a:tabLst>
                <a:tab pos="444450" algn="l"/>
              </a:tabLst>
            </a:pPr>
            <a:r>
              <a:rPr lang="en-US" dirty="0">
                <a:sym typeface="Monotype Sorts"/>
              </a:rPr>
              <a:t>	</a:t>
            </a:r>
            <a:endParaRPr lang="en-US" dirty="0"/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  <a:tabLst>
                <a:tab pos="444450" algn="l"/>
              </a:tabLst>
            </a:pPr>
            <a:endParaRPr lang="en-US" dirty="0" smtClean="0"/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  <a:tabLst>
                <a:tab pos="444450" algn="l"/>
              </a:tabLst>
            </a:pPr>
            <a:endParaRPr lang="en-US" dirty="0"/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  <a:tabLst>
                <a:tab pos="444450" algn="l"/>
              </a:tabLst>
            </a:pPr>
            <a:r>
              <a:rPr lang="en-US" sz="2200" dirty="0">
                <a:sym typeface="Monotype Sorts"/>
              </a:rPr>
              <a:t>	</a:t>
            </a:r>
            <a:endParaRPr lang="en-US" dirty="0"/>
          </a:p>
          <a:p>
            <a:pPr marL="0" indent="0">
              <a:spcAft>
                <a:spcPts val="1200"/>
              </a:spcAft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dirty="0" smtClean="0"/>
              <a:t> </a:t>
            </a:r>
            <a:endParaRPr lang="en-US" dirty="0"/>
          </a:p>
        </p:txBody>
      </p:sp>
      <p:sp>
        <p:nvSpPr>
          <p:cNvPr id="24" name="Rectangle 23"/>
          <p:cNvSpPr/>
          <p:nvPr/>
        </p:nvSpPr>
        <p:spPr bwMode="auto">
          <a:xfrm>
            <a:off x="0" y="2"/>
            <a:ext cx="256928" cy="1196975"/>
          </a:xfrm>
          <a:prstGeom prst="rect">
            <a:avLst/>
          </a:prstGeom>
          <a:solidFill>
            <a:schemeClr val="accent6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29" tIns="45715" rIns="91429" bIns="45715" numCol="1" rtlCol="0" anchor="t" anchorCtr="0" compatLnSpc="1">
            <a:prstTxWarp prst="textNoShape">
              <a:avLst/>
            </a:prstTxWarp>
          </a:bodyPr>
          <a:lstStyle/>
          <a:p>
            <a:pPr defTabSz="914296"/>
            <a:endParaRPr lang="en-US" sz="2300" dirty="0">
              <a:latin typeface="Source Sans Pro Light"/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CH" b="1" dirty="0" smtClean="0">
                <a:solidFill>
                  <a:schemeClr val="bg1"/>
                </a:solidFill>
              </a:rPr>
              <a:t>Outline</a:t>
            </a:r>
            <a:endParaRPr lang="de-CH" b="1" dirty="0">
              <a:solidFill>
                <a:schemeClr val="bg1"/>
              </a:solidFill>
            </a:endParaRPr>
          </a:p>
        </p:txBody>
      </p:sp>
      <p:sp>
        <p:nvSpPr>
          <p:cNvPr id="6" name="Ellipse 5"/>
          <p:cNvSpPr/>
          <p:nvPr/>
        </p:nvSpPr>
        <p:spPr bwMode="auto">
          <a:xfrm>
            <a:off x="619125" y="2115750"/>
            <a:ext cx="288000" cy="288000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600" b="1" i="0" u="none" strike="noStrike" normalizeH="0" baseline="0" dirty="0" smtClean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Source Sans Pro Light" panose="020B0403030403020204" pitchFamily="34" charset="0"/>
                <a:sym typeface="Neutraface Text Book" charset="0"/>
              </a:rPr>
              <a:t>2</a:t>
            </a:r>
            <a:endParaRPr kumimoji="0" lang="de-CH" sz="1600" b="1" i="0" u="none" strike="noStrike" normalizeH="0" baseline="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Source Sans Pro Light" panose="020B0403030403020204" pitchFamily="34" charset="0"/>
              <a:sym typeface="Neutraface Text Book" charset="0"/>
            </a:endParaRPr>
          </a:p>
        </p:txBody>
      </p:sp>
      <p:sp>
        <p:nvSpPr>
          <p:cNvPr id="11" name="Ellipse 10"/>
          <p:cNvSpPr/>
          <p:nvPr/>
        </p:nvSpPr>
        <p:spPr bwMode="auto">
          <a:xfrm>
            <a:off x="616810" y="1700808"/>
            <a:ext cx="288000" cy="288000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600" b="1" i="0" u="none" strike="noStrike" normalizeH="0" baseline="0" dirty="0" smtClean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Source Sans Pro Light" panose="020B0403030403020204" pitchFamily="34" charset="0"/>
                <a:sym typeface="Neutraface Text Book" charset="0"/>
              </a:rPr>
              <a:t>1</a:t>
            </a:r>
            <a:endParaRPr kumimoji="0" lang="de-CH" sz="1600" b="1" i="0" u="none" strike="noStrike" normalizeH="0" baseline="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Source Sans Pro Light" panose="020B0403030403020204" pitchFamily="34" charset="0"/>
              <a:sym typeface="Neutraface Text Book" charset="0"/>
            </a:endParaRPr>
          </a:p>
        </p:txBody>
      </p:sp>
      <p:sp>
        <p:nvSpPr>
          <p:cNvPr id="13" name="Ellipse 12"/>
          <p:cNvSpPr/>
          <p:nvPr/>
        </p:nvSpPr>
        <p:spPr bwMode="auto">
          <a:xfrm>
            <a:off x="619125" y="2945991"/>
            <a:ext cx="288000" cy="288000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600" b="1" i="0" u="none" strike="noStrike" normalizeH="0" baseline="0" dirty="0" smtClean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Source Sans Pro Light" panose="020B0403030403020204" pitchFamily="34" charset="0"/>
                <a:sym typeface="Neutraface Text Book" charset="0"/>
              </a:rPr>
              <a:t>4</a:t>
            </a:r>
            <a:endParaRPr kumimoji="0" lang="de-CH" sz="1600" b="1" i="0" u="none" strike="noStrike" normalizeH="0" baseline="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Source Sans Pro Light" panose="020B0403030403020204" pitchFamily="34" charset="0"/>
              <a:sym typeface="Neutraface Text Book" charset="0"/>
            </a:endParaRPr>
          </a:p>
        </p:txBody>
      </p:sp>
      <p:grpSp>
        <p:nvGrpSpPr>
          <p:cNvPr id="17" name="Gruppieren 16"/>
          <p:cNvGrpSpPr/>
          <p:nvPr/>
        </p:nvGrpSpPr>
        <p:grpSpPr>
          <a:xfrm>
            <a:off x="0" y="6598784"/>
            <a:ext cx="9914384" cy="260648"/>
            <a:chOff x="0" y="6598784"/>
            <a:chExt cx="9914384" cy="260648"/>
          </a:xfrm>
        </p:grpSpPr>
        <p:grpSp>
          <p:nvGrpSpPr>
            <p:cNvPr id="18" name="Gruppieren 17"/>
            <p:cNvGrpSpPr/>
            <p:nvPr/>
          </p:nvGrpSpPr>
          <p:grpSpPr>
            <a:xfrm>
              <a:off x="0" y="6598784"/>
              <a:ext cx="9914384" cy="260648"/>
              <a:chOff x="0" y="6598784"/>
              <a:chExt cx="9914384" cy="260648"/>
            </a:xfrm>
          </p:grpSpPr>
          <p:sp>
            <p:nvSpPr>
              <p:cNvPr id="21" name="Rectangle 7"/>
              <p:cNvSpPr/>
              <p:nvPr>
                <p:custDataLst>
                  <p:tags r:id="rId1"/>
                </p:custDataLst>
              </p:nvPr>
            </p:nvSpPr>
            <p:spPr bwMode="auto">
              <a:xfrm>
                <a:off x="0" y="6614991"/>
                <a:ext cx="5601072" cy="243009"/>
              </a:xfrm>
              <a:prstGeom prst="rect">
                <a:avLst/>
              </a:prstGeom>
              <a:solidFill>
                <a:schemeClr val="tx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29" tIns="0" rIns="91429" bIns="45715" numCol="1" rtlCol="0" anchor="t" anchorCtr="0" compatLnSpc="1">
                <a:prstTxWarp prst="textNoShape">
                  <a:avLst/>
                </a:prstTxWarp>
              </a:bodyPr>
              <a:lstStyle/>
              <a:p>
                <a:r>
                  <a:rPr lang="en-US" sz="1200" dirty="0" smtClean="0">
                    <a:solidFill>
                      <a:schemeClr val="bg1">
                        <a:lumMod val="75000"/>
                      </a:schemeClr>
                    </a:solidFill>
                    <a:latin typeface="Source Sans Pro Light" panose="020B0403030403020204" pitchFamily="34" charset="0"/>
                    <a:cs typeface="Source Sans Pro Light"/>
                  </a:rPr>
                  <a:t>Mapping Customers |       Summary</a:t>
                </a:r>
                <a:endParaRPr lang="en-US" sz="1200" dirty="0">
                  <a:solidFill>
                    <a:schemeClr val="bg1">
                      <a:lumMod val="75000"/>
                    </a:schemeClr>
                  </a:solidFill>
                  <a:latin typeface="Source Sans Pro Light" panose="020B0403030403020204" pitchFamily="34" charset="0"/>
                  <a:cs typeface="Source Sans Pro"/>
                </a:endParaRPr>
              </a:p>
            </p:txBody>
          </p:sp>
          <p:sp>
            <p:nvSpPr>
              <p:cNvPr id="20" name="Rectangle 7"/>
              <p:cNvSpPr/>
              <p:nvPr>
                <p:custDataLst>
                  <p:tags r:id="rId2"/>
                </p:custDataLst>
              </p:nvPr>
            </p:nvSpPr>
            <p:spPr bwMode="auto">
              <a:xfrm>
                <a:off x="5673080" y="6598784"/>
                <a:ext cx="4241304" cy="260648"/>
              </a:xfrm>
              <a:prstGeom prst="rect">
                <a:avLst/>
              </a:prstGeom>
              <a:solidFill>
                <a:schemeClr val="tx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29" tIns="0" rIns="91429" bIns="45715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r"/>
                <a:r>
                  <a:rPr lang="en-US" sz="1200" dirty="0" smtClean="0">
                    <a:solidFill>
                      <a:schemeClr val="bg1">
                        <a:lumMod val="75000"/>
                      </a:schemeClr>
                    </a:solidFill>
                    <a:latin typeface="Source Sans Pro Light" panose="020B0403030403020204" pitchFamily="34" charset="0"/>
                    <a:cs typeface="Source Sans Pro"/>
                    <a:sym typeface="Monotype Sorts"/>
                  </a:rPr>
                  <a:t>Salome </a:t>
                </a:r>
                <a:r>
                  <a:rPr lang="en-US" sz="1200" dirty="0">
                    <a:solidFill>
                      <a:schemeClr val="bg1">
                        <a:lumMod val="75000"/>
                      </a:schemeClr>
                    </a:solidFill>
                    <a:latin typeface="Source Sans Pro Light" panose="020B0403030403020204" pitchFamily="34" charset="0"/>
                    <a:cs typeface="Source Sans Pro"/>
                    <a:sym typeface="Monotype Sorts"/>
                  </a:rPr>
                  <a:t>Lang</a:t>
                </a:r>
              </a:p>
            </p:txBody>
          </p:sp>
        </p:grpSp>
        <p:sp>
          <p:nvSpPr>
            <p:cNvPr id="23" name="Ellipse 22"/>
            <p:cNvSpPr/>
            <p:nvPr/>
          </p:nvSpPr>
          <p:spPr bwMode="auto">
            <a:xfrm>
              <a:off x="1460624" y="6655292"/>
              <a:ext cx="108000" cy="108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CH" sz="850" b="1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Source Sans Pro Light" panose="020B0403030403020204" pitchFamily="34" charset="0"/>
                </a:rPr>
                <a:t>5</a:t>
              </a:r>
              <a:endParaRPr kumimoji="0" lang="de-CH" sz="850" b="1" i="0" u="none" strike="noStrike" normalizeH="0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Source Sans Pro Light" panose="020B0403030403020204" pitchFamily="34" charset="0"/>
                <a:sym typeface="Neutraface Text Book" charset="0"/>
              </a:endParaRPr>
            </a:p>
          </p:txBody>
        </p:sp>
      </p:grpSp>
      <p:sp>
        <p:nvSpPr>
          <p:cNvPr id="22" name="Ellipse 21"/>
          <p:cNvSpPr/>
          <p:nvPr/>
        </p:nvSpPr>
        <p:spPr bwMode="auto">
          <a:xfrm>
            <a:off x="619125" y="2535971"/>
            <a:ext cx="288000" cy="288000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CH" sz="1600" b="1" dirty="0" smtClean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Source Sans Pro Light" panose="020B0403030403020204" pitchFamily="34" charset="0"/>
              </a:rPr>
              <a:t>3</a:t>
            </a:r>
            <a:endParaRPr kumimoji="0" lang="de-CH" sz="1600" b="1" i="0" u="none" strike="noStrike" normalizeH="0" baseline="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Source Sans Pro Light" panose="020B0403030403020204" pitchFamily="34" charset="0"/>
              <a:sym typeface="Neutraface Text Book" charset="0"/>
            </a:endParaRPr>
          </a:p>
        </p:txBody>
      </p:sp>
      <p:sp>
        <p:nvSpPr>
          <p:cNvPr id="37" name="Ellipse 36"/>
          <p:cNvSpPr/>
          <p:nvPr/>
        </p:nvSpPr>
        <p:spPr bwMode="auto">
          <a:xfrm>
            <a:off x="618904" y="3356992"/>
            <a:ext cx="288000" cy="288000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600" b="1" i="0" u="none" strike="noStrike" normalizeH="0" baseline="0" dirty="0" smtClean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Source Sans Pro Light" panose="020B0403030403020204" pitchFamily="34" charset="0"/>
                <a:sym typeface="Neutraface Text Book" charset="0"/>
              </a:rPr>
              <a:t>5</a:t>
            </a:r>
            <a:endParaRPr kumimoji="0" lang="de-CH" sz="1600" b="1" i="0" u="none" strike="noStrike" normalizeH="0" baseline="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Source Sans Pro Light" panose="020B0403030403020204" pitchFamily="34" charset="0"/>
              <a:sym typeface="Neutraface Text Book" charset="0"/>
            </a:endParaRPr>
          </a:p>
        </p:txBody>
      </p:sp>
      <p:sp>
        <p:nvSpPr>
          <p:cNvPr id="19" name="Ellipse 18"/>
          <p:cNvSpPr/>
          <p:nvPr/>
        </p:nvSpPr>
        <p:spPr bwMode="auto">
          <a:xfrm>
            <a:off x="618872" y="3777213"/>
            <a:ext cx="288000" cy="288000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CH" sz="1600" b="1" dirty="0" smtClean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Source Sans Pro Light" panose="020B0403030403020204" pitchFamily="34" charset="0"/>
              </a:rPr>
              <a:t>6</a:t>
            </a:r>
            <a:endParaRPr kumimoji="0" lang="de-CH" sz="1600" b="1" i="0" u="none" strike="noStrike" normalizeH="0" baseline="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Source Sans Pro Light" panose="020B0403030403020204" pitchFamily="34" charset="0"/>
              <a:sym typeface="Neutraface Text Boo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1517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Maps may not always be more useful, but they are pretty… 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In practice, many analytical questions can be answered with histograms and scatter plots just as well as with a map.</a:t>
            </a:r>
          </a:p>
          <a:p>
            <a:r>
              <a:rPr lang="en-GB" dirty="0" smtClean="0"/>
              <a:t>If you decide to visualize your data on a map nevertheless, be aware that</a:t>
            </a:r>
          </a:p>
          <a:p>
            <a:pPr lvl="1"/>
            <a:r>
              <a:rPr lang="en-GB" dirty="0" smtClean="0">
                <a:latin typeface="Source Sans Pro Light" panose="020B0604020202020204" charset="0"/>
              </a:rPr>
              <a:t> </a:t>
            </a:r>
            <a:r>
              <a:rPr lang="en-GB" dirty="0" smtClean="0">
                <a:latin typeface="Source Sans Pro Bold" panose="020B0604020202020204" charset="0"/>
              </a:rPr>
              <a:t>Maps </a:t>
            </a:r>
            <a:r>
              <a:rPr lang="en-GB" dirty="0">
                <a:latin typeface="Source Sans Pro Bold" panose="020B0604020202020204" charset="0"/>
              </a:rPr>
              <a:t>are not a shortcut </a:t>
            </a:r>
            <a:r>
              <a:rPr lang="en-GB" dirty="0"/>
              <a:t>in your data screening process</a:t>
            </a:r>
          </a:p>
          <a:p>
            <a:pPr lvl="1"/>
            <a:r>
              <a:rPr lang="en-GB" dirty="0" smtClean="0"/>
              <a:t>Often, you need to </a:t>
            </a:r>
            <a:r>
              <a:rPr lang="en-GB" dirty="0" smtClean="0">
                <a:latin typeface="Source Sans Pro Bold" panose="020B0604020202020204" charset="0"/>
              </a:rPr>
              <a:t>weight values by population </a:t>
            </a:r>
            <a:r>
              <a:rPr lang="en-GB" dirty="0" smtClean="0"/>
              <a:t>to answer </a:t>
            </a:r>
            <a:r>
              <a:rPr lang="en-GB" dirty="0"/>
              <a:t>the right </a:t>
            </a:r>
            <a:r>
              <a:rPr lang="en-GB" dirty="0" smtClean="0"/>
              <a:t>questio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b="1" dirty="0" smtClean="0">
                <a:solidFill>
                  <a:schemeClr val="bg1"/>
                </a:solidFill>
              </a:rPr>
              <a:t>Summary</a:t>
            </a:r>
            <a:endParaRPr lang="en-GB" b="1" dirty="0">
              <a:solidFill>
                <a:schemeClr val="bg1"/>
              </a:solidFill>
            </a:endParaRPr>
          </a:p>
        </p:txBody>
      </p:sp>
      <p:graphicFrame>
        <p:nvGraphicFramePr>
          <p:cNvPr id="6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7992495"/>
              </p:ext>
            </p:extLst>
          </p:nvPr>
        </p:nvGraphicFramePr>
        <p:xfrm>
          <a:off x="-15552" y="5301208"/>
          <a:ext cx="9274871" cy="1306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072"/>
                <a:gridCol w="8626799"/>
              </a:tblGrid>
              <a:tr h="864096">
                <a:tc>
                  <a:txBody>
                    <a:bodyPr/>
                    <a:lstStyle/>
                    <a:p>
                      <a:pPr algn="ctr">
                        <a:lnSpc>
                          <a:spcPts val="3600"/>
                        </a:lnSpc>
                      </a:pPr>
                      <a:r>
                        <a:rPr lang="en-US" sz="2500" noProof="0" dirty="0" smtClean="0">
                          <a:solidFill>
                            <a:srgbClr val="7F7F7F"/>
                          </a:solidFill>
                          <a:latin typeface="Source Sans Pro Light"/>
                          <a:cs typeface="Source Sans Pro Light"/>
                          <a:sym typeface="Wingdings 3"/>
                        </a:rPr>
                        <a:t></a:t>
                      </a:r>
                      <a:endParaRPr lang="en-US" sz="2500" noProof="0" dirty="0">
                        <a:solidFill>
                          <a:srgbClr val="7F7F7F"/>
                        </a:solidFill>
                        <a:latin typeface="Source Sans Pro Light"/>
                        <a:cs typeface="Source Sans Pro Light"/>
                      </a:endParaRPr>
                    </a:p>
                  </a:txBody>
                  <a:tcPr marL="0" marR="0" marT="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b="0" dirty="0" smtClean="0">
                          <a:solidFill>
                            <a:srgbClr val="7F7F7F"/>
                          </a:solidFill>
                          <a:latin typeface="Source Sans Pro Light" panose="020B0604020202020204" charset="0"/>
                          <a:cs typeface="Source Sans Pro Light" panose="020B0604020202020204" charset="0"/>
                        </a:rPr>
                        <a:t>Once</a:t>
                      </a:r>
                      <a:r>
                        <a:rPr lang="en-US" sz="1800" b="0" baseline="0" dirty="0" smtClean="0">
                          <a:solidFill>
                            <a:srgbClr val="7F7F7F"/>
                          </a:solidFill>
                          <a:latin typeface="Source Sans Pro Light" panose="020B0604020202020204" charset="0"/>
                          <a:cs typeface="Source Sans Pro Light" panose="020B0604020202020204" charset="0"/>
                        </a:rPr>
                        <a:t> you have tackled how spatial data objects work, R offers so much flexibility in drawing maps (not comparable to Stata for example). Even if a histogram answers the question as well as a map,  the maps are definitely more impressive…</a:t>
                      </a:r>
                      <a:endParaRPr lang="en-US" sz="1800" b="0" dirty="0" smtClean="0">
                        <a:solidFill>
                          <a:srgbClr val="7F7F7F"/>
                        </a:solidFill>
                        <a:latin typeface="Source Sans Pro Light" panose="020B0604020202020204" charset="0"/>
                        <a:cs typeface="Source Sans Pro Light" panose="020B0604020202020204" charset="0"/>
                      </a:endParaRPr>
                    </a:p>
                  </a:txBody>
                  <a:tcPr marL="0" marR="0" marT="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</a:tr>
            </a:tbl>
          </a:graphicData>
        </a:graphic>
      </p:graphicFrame>
      <p:grpSp>
        <p:nvGrpSpPr>
          <p:cNvPr id="12" name="Gruppieren 11"/>
          <p:cNvGrpSpPr/>
          <p:nvPr/>
        </p:nvGrpSpPr>
        <p:grpSpPr>
          <a:xfrm>
            <a:off x="0" y="6598784"/>
            <a:ext cx="9914384" cy="260648"/>
            <a:chOff x="0" y="6598784"/>
            <a:chExt cx="9914384" cy="260648"/>
          </a:xfrm>
        </p:grpSpPr>
        <p:grpSp>
          <p:nvGrpSpPr>
            <p:cNvPr id="13" name="Gruppieren 12"/>
            <p:cNvGrpSpPr/>
            <p:nvPr/>
          </p:nvGrpSpPr>
          <p:grpSpPr>
            <a:xfrm>
              <a:off x="0" y="6598784"/>
              <a:ext cx="9914384" cy="260648"/>
              <a:chOff x="0" y="6598784"/>
              <a:chExt cx="9914384" cy="260648"/>
            </a:xfrm>
          </p:grpSpPr>
          <p:sp>
            <p:nvSpPr>
              <p:cNvPr id="15" name="Rectangle 7"/>
              <p:cNvSpPr/>
              <p:nvPr>
                <p:custDataLst>
                  <p:tags r:id="rId1"/>
                </p:custDataLst>
              </p:nvPr>
            </p:nvSpPr>
            <p:spPr bwMode="auto">
              <a:xfrm>
                <a:off x="0" y="6614991"/>
                <a:ext cx="5601072" cy="243009"/>
              </a:xfrm>
              <a:prstGeom prst="rect">
                <a:avLst/>
              </a:prstGeom>
              <a:solidFill>
                <a:schemeClr val="tx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29" tIns="0" rIns="91429" bIns="45715" numCol="1" rtlCol="0" anchor="t" anchorCtr="0" compatLnSpc="1">
                <a:prstTxWarp prst="textNoShape">
                  <a:avLst/>
                </a:prstTxWarp>
              </a:bodyPr>
              <a:lstStyle/>
              <a:p>
                <a:r>
                  <a:rPr lang="en-US" sz="1200" dirty="0" smtClean="0">
                    <a:solidFill>
                      <a:schemeClr val="bg1">
                        <a:lumMod val="75000"/>
                      </a:schemeClr>
                    </a:solidFill>
                    <a:latin typeface="Source Sans Pro Light" panose="020B0403030403020204" pitchFamily="34" charset="0"/>
                    <a:cs typeface="Source Sans Pro Light"/>
                  </a:rPr>
                  <a:t>Mapping Customers |       Summary</a:t>
                </a:r>
                <a:endParaRPr lang="en-US" sz="1200" dirty="0">
                  <a:solidFill>
                    <a:schemeClr val="bg1">
                      <a:lumMod val="75000"/>
                    </a:schemeClr>
                  </a:solidFill>
                  <a:latin typeface="Source Sans Pro Light" panose="020B0403030403020204" pitchFamily="34" charset="0"/>
                  <a:cs typeface="Source Sans Pro"/>
                </a:endParaRPr>
              </a:p>
            </p:txBody>
          </p:sp>
          <p:sp>
            <p:nvSpPr>
              <p:cNvPr id="16" name="Rectangle 7"/>
              <p:cNvSpPr/>
              <p:nvPr>
                <p:custDataLst>
                  <p:tags r:id="rId2"/>
                </p:custDataLst>
              </p:nvPr>
            </p:nvSpPr>
            <p:spPr bwMode="auto">
              <a:xfrm>
                <a:off x="5673080" y="6598784"/>
                <a:ext cx="4241304" cy="260648"/>
              </a:xfrm>
              <a:prstGeom prst="rect">
                <a:avLst/>
              </a:prstGeom>
              <a:solidFill>
                <a:schemeClr val="tx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29" tIns="0" rIns="91429" bIns="45715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r"/>
                <a:r>
                  <a:rPr lang="en-US" sz="1200" dirty="0" smtClean="0">
                    <a:solidFill>
                      <a:schemeClr val="bg1">
                        <a:lumMod val="75000"/>
                      </a:schemeClr>
                    </a:solidFill>
                    <a:latin typeface="Source Sans Pro Light" panose="020B0403030403020204" pitchFamily="34" charset="0"/>
                    <a:cs typeface="Source Sans Pro"/>
                    <a:sym typeface="Monotype Sorts"/>
                  </a:rPr>
                  <a:t>Salome </a:t>
                </a:r>
                <a:r>
                  <a:rPr lang="en-US" sz="1200" dirty="0">
                    <a:solidFill>
                      <a:schemeClr val="bg1">
                        <a:lumMod val="75000"/>
                      </a:schemeClr>
                    </a:solidFill>
                    <a:latin typeface="Source Sans Pro Light" panose="020B0403030403020204" pitchFamily="34" charset="0"/>
                    <a:cs typeface="Source Sans Pro"/>
                    <a:sym typeface="Monotype Sorts"/>
                  </a:rPr>
                  <a:t>Lang</a:t>
                </a:r>
              </a:p>
            </p:txBody>
          </p:sp>
        </p:grpSp>
        <p:sp>
          <p:nvSpPr>
            <p:cNvPr id="14" name="Ellipse 13"/>
            <p:cNvSpPr/>
            <p:nvPr/>
          </p:nvSpPr>
          <p:spPr bwMode="auto">
            <a:xfrm>
              <a:off x="1460624" y="6655292"/>
              <a:ext cx="108000" cy="108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CH" sz="850" b="1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Source Sans Pro Light" panose="020B0403030403020204" pitchFamily="34" charset="0"/>
                </a:rPr>
                <a:t>5</a:t>
              </a:r>
              <a:endParaRPr kumimoji="0" lang="de-CH" sz="850" b="1" i="0" u="none" strike="noStrike" normalizeH="0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Source Sans Pro Light" panose="020B0403030403020204" pitchFamily="34" charset="0"/>
                <a:sym typeface="Neutraface Text Book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21735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pping Customers</a:t>
            </a:r>
            <a:r>
              <a:rPr lang="en-US" dirty="0" smtClean="0">
                <a:latin typeface="Source Sans Pro Semibold"/>
                <a:cs typeface="Source Sans Pro Semibold"/>
              </a:rPr>
              <a:t/>
            </a:r>
            <a:br>
              <a:rPr lang="en-US" dirty="0" smtClean="0">
                <a:latin typeface="Source Sans Pro Semibold"/>
                <a:cs typeface="Source Sans Pro Semibold"/>
              </a:rPr>
            </a:br>
            <a:r>
              <a:rPr lang="en-US" b="1" dirty="0" smtClean="0">
                <a:latin typeface="Source Sans Pro Semibold"/>
                <a:cs typeface="Source Sans Pro Semibold"/>
              </a:rPr>
              <a:t>Agenda</a:t>
            </a:r>
            <a:endParaRPr lang="en-US" b="1" dirty="0">
              <a:latin typeface="Source Sans Pro Semibold"/>
              <a:cs typeface="Source Sans Pro Semibold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9125" y="1564803"/>
            <a:ext cx="8667750" cy="4384477"/>
          </a:xfrm>
        </p:spPr>
        <p:txBody>
          <a:bodyPr/>
          <a:lstStyle/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>
                <a:sym typeface="Monotype Sorts"/>
              </a:rPr>
              <a:t>	</a:t>
            </a:r>
            <a:r>
              <a:rPr lang="en-US" dirty="0">
                <a:sym typeface="Monotype Sorts"/>
              </a:rPr>
              <a:t>  Research Question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>
                <a:latin typeface="Source Sans Pro Bold" panose="020B0703030403020204" pitchFamily="34" charset="0"/>
                <a:sym typeface="Monotype Sorts"/>
              </a:rPr>
              <a:t>	  </a:t>
            </a:r>
            <a:r>
              <a:rPr lang="en-US" dirty="0"/>
              <a:t>Introduction to Mapping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  <a:tabLst>
                <a:tab pos="444450" algn="l"/>
              </a:tabLst>
            </a:pPr>
            <a:r>
              <a:rPr lang="en-US" dirty="0">
                <a:latin typeface="Source Sans Pro Bold" panose="020B0703030403020204" pitchFamily="34" charset="0"/>
                <a:sym typeface="Monotype Sorts"/>
              </a:rPr>
              <a:t>	</a:t>
            </a:r>
            <a:r>
              <a:rPr lang="en-US" dirty="0"/>
              <a:t>Data Screening &amp; Descriptives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  <a:tabLst>
                <a:tab pos="444450" algn="l"/>
              </a:tabLst>
            </a:pPr>
            <a:r>
              <a:rPr lang="en-US" dirty="0" smtClean="0"/>
              <a:t>§	</a:t>
            </a:r>
            <a:r>
              <a:rPr lang="en-US" dirty="0"/>
              <a:t>Implementation in R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  <a:tabLst>
                <a:tab pos="444450" algn="l"/>
              </a:tabLst>
            </a:pPr>
            <a:r>
              <a:rPr lang="en-US" dirty="0">
                <a:sym typeface="Monotype Sorts"/>
              </a:rPr>
              <a:t>	Summary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  <a:tabLst>
                <a:tab pos="444450" algn="l"/>
              </a:tabLst>
            </a:pPr>
            <a:r>
              <a:rPr lang="de-CH" dirty="0" smtClean="0">
                <a:latin typeface="Source Sans Pro Light" panose="020B0403030403020204" pitchFamily="34" charset="0"/>
              </a:rPr>
              <a:t>	</a:t>
            </a:r>
            <a:r>
              <a:rPr lang="de-CH" dirty="0">
                <a:latin typeface="Source Sans Pro Bold" panose="020B0703030403020204" pitchFamily="34" charset="0"/>
              </a:rPr>
              <a:t>References</a:t>
            </a:r>
            <a:endParaRPr lang="en-US" dirty="0">
              <a:latin typeface="Source Sans Pro Bold" panose="020B0703030403020204" pitchFamily="34" charset="0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  <a:tabLst>
                <a:tab pos="444450" algn="l"/>
              </a:tabLst>
            </a:pPr>
            <a:r>
              <a:rPr lang="en-US" dirty="0">
                <a:sym typeface="Monotype Sorts"/>
              </a:rPr>
              <a:t>	</a:t>
            </a:r>
            <a:endParaRPr lang="en-US" dirty="0"/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  <a:tabLst>
                <a:tab pos="444450" algn="l"/>
              </a:tabLst>
            </a:pPr>
            <a:endParaRPr lang="en-US" dirty="0" smtClean="0"/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  <a:tabLst>
                <a:tab pos="444450" algn="l"/>
              </a:tabLst>
            </a:pPr>
            <a:endParaRPr lang="en-US" dirty="0"/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  <a:tabLst>
                <a:tab pos="444450" algn="l"/>
              </a:tabLst>
            </a:pPr>
            <a:r>
              <a:rPr lang="en-US" sz="2200" dirty="0">
                <a:sym typeface="Monotype Sorts"/>
              </a:rPr>
              <a:t>	</a:t>
            </a:r>
            <a:endParaRPr lang="en-US" dirty="0"/>
          </a:p>
          <a:p>
            <a:pPr marL="0" indent="0">
              <a:spcAft>
                <a:spcPts val="1200"/>
              </a:spcAft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dirty="0" smtClean="0"/>
              <a:t> </a:t>
            </a:r>
            <a:endParaRPr lang="en-US" dirty="0"/>
          </a:p>
        </p:txBody>
      </p:sp>
      <p:sp>
        <p:nvSpPr>
          <p:cNvPr id="24" name="Rectangle 23"/>
          <p:cNvSpPr/>
          <p:nvPr/>
        </p:nvSpPr>
        <p:spPr bwMode="auto">
          <a:xfrm>
            <a:off x="0" y="2"/>
            <a:ext cx="256928" cy="1196975"/>
          </a:xfrm>
          <a:prstGeom prst="rect">
            <a:avLst/>
          </a:prstGeom>
          <a:solidFill>
            <a:schemeClr val="accent6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29" tIns="45715" rIns="91429" bIns="45715" numCol="1" rtlCol="0" anchor="t" anchorCtr="0" compatLnSpc="1">
            <a:prstTxWarp prst="textNoShape">
              <a:avLst/>
            </a:prstTxWarp>
          </a:bodyPr>
          <a:lstStyle/>
          <a:p>
            <a:pPr defTabSz="914296"/>
            <a:endParaRPr lang="en-US" sz="2300" dirty="0">
              <a:latin typeface="Source Sans Pro Light"/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CH" b="1" dirty="0" smtClean="0">
                <a:solidFill>
                  <a:schemeClr val="bg1"/>
                </a:solidFill>
              </a:rPr>
              <a:t>Outline</a:t>
            </a:r>
            <a:endParaRPr lang="de-CH" b="1" dirty="0">
              <a:solidFill>
                <a:schemeClr val="bg1"/>
              </a:solidFill>
            </a:endParaRPr>
          </a:p>
        </p:txBody>
      </p:sp>
      <p:sp>
        <p:nvSpPr>
          <p:cNvPr id="6" name="Ellipse 5"/>
          <p:cNvSpPr/>
          <p:nvPr/>
        </p:nvSpPr>
        <p:spPr bwMode="auto">
          <a:xfrm>
            <a:off x="619125" y="2115750"/>
            <a:ext cx="288000" cy="288000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600" b="1" i="0" u="none" strike="noStrike" normalizeH="0" baseline="0" dirty="0" smtClean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Source Sans Pro Light" panose="020B0403030403020204" pitchFamily="34" charset="0"/>
                <a:sym typeface="Neutraface Text Book" charset="0"/>
              </a:rPr>
              <a:t>2</a:t>
            </a:r>
            <a:endParaRPr kumimoji="0" lang="de-CH" sz="1600" b="1" i="0" u="none" strike="noStrike" normalizeH="0" baseline="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Source Sans Pro Light" panose="020B0403030403020204" pitchFamily="34" charset="0"/>
              <a:sym typeface="Neutraface Text Book" charset="0"/>
            </a:endParaRPr>
          </a:p>
        </p:txBody>
      </p:sp>
      <p:sp>
        <p:nvSpPr>
          <p:cNvPr id="11" name="Ellipse 10"/>
          <p:cNvSpPr/>
          <p:nvPr/>
        </p:nvSpPr>
        <p:spPr bwMode="auto">
          <a:xfrm>
            <a:off x="616810" y="1700808"/>
            <a:ext cx="288000" cy="288000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600" b="1" i="0" u="none" strike="noStrike" normalizeH="0" baseline="0" dirty="0" smtClean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Source Sans Pro Light" panose="020B0403030403020204" pitchFamily="34" charset="0"/>
                <a:sym typeface="Neutraface Text Book" charset="0"/>
              </a:rPr>
              <a:t>1</a:t>
            </a:r>
            <a:endParaRPr kumimoji="0" lang="de-CH" sz="1600" b="1" i="0" u="none" strike="noStrike" normalizeH="0" baseline="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Source Sans Pro Light" panose="020B0403030403020204" pitchFamily="34" charset="0"/>
              <a:sym typeface="Neutraface Text Book" charset="0"/>
            </a:endParaRPr>
          </a:p>
        </p:txBody>
      </p:sp>
      <p:sp>
        <p:nvSpPr>
          <p:cNvPr id="13" name="Ellipse 12"/>
          <p:cNvSpPr/>
          <p:nvPr/>
        </p:nvSpPr>
        <p:spPr bwMode="auto">
          <a:xfrm>
            <a:off x="619125" y="2945991"/>
            <a:ext cx="288000" cy="288000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600" b="1" i="0" u="none" strike="noStrike" normalizeH="0" baseline="0" dirty="0" smtClean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Source Sans Pro Light" panose="020B0403030403020204" pitchFamily="34" charset="0"/>
                <a:sym typeface="Neutraface Text Book" charset="0"/>
              </a:rPr>
              <a:t>4</a:t>
            </a:r>
            <a:endParaRPr kumimoji="0" lang="de-CH" sz="1600" b="1" i="0" u="none" strike="noStrike" normalizeH="0" baseline="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Source Sans Pro Light" panose="020B0403030403020204" pitchFamily="34" charset="0"/>
              <a:sym typeface="Neutraface Text Book" charset="0"/>
            </a:endParaRPr>
          </a:p>
        </p:txBody>
      </p:sp>
      <p:grpSp>
        <p:nvGrpSpPr>
          <p:cNvPr id="17" name="Gruppieren 16"/>
          <p:cNvGrpSpPr/>
          <p:nvPr/>
        </p:nvGrpSpPr>
        <p:grpSpPr>
          <a:xfrm>
            <a:off x="0" y="6598784"/>
            <a:ext cx="9914384" cy="260648"/>
            <a:chOff x="0" y="6598784"/>
            <a:chExt cx="9914384" cy="260648"/>
          </a:xfrm>
        </p:grpSpPr>
        <p:grpSp>
          <p:nvGrpSpPr>
            <p:cNvPr id="18" name="Gruppieren 17"/>
            <p:cNvGrpSpPr/>
            <p:nvPr/>
          </p:nvGrpSpPr>
          <p:grpSpPr>
            <a:xfrm>
              <a:off x="0" y="6598784"/>
              <a:ext cx="9914384" cy="260648"/>
              <a:chOff x="0" y="6598784"/>
              <a:chExt cx="9914384" cy="260648"/>
            </a:xfrm>
          </p:grpSpPr>
          <p:sp>
            <p:nvSpPr>
              <p:cNvPr id="21" name="Rectangle 7"/>
              <p:cNvSpPr/>
              <p:nvPr>
                <p:custDataLst>
                  <p:tags r:id="rId1"/>
                </p:custDataLst>
              </p:nvPr>
            </p:nvSpPr>
            <p:spPr bwMode="auto">
              <a:xfrm>
                <a:off x="0" y="6614991"/>
                <a:ext cx="5601072" cy="243009"/>
              </a:xfrm>
              <a:prstGeom prst="rect">
                <a:avLst/>
              </a:prstGeom>
              <a:solidFill>
                <a:schemeClr val="tx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29" tIns="0" rIns="91429" bIns="45715" numCol="1" rtlCol="0" anchor="t" anchorCtr="0" compatLnSpc="1">
                <a:prstTxWarp prst="textNoShape">
                  <a:avLst/>
                </a:prstTxWarp>
              </a:bodyPr>
              <a:lstStyle/>
              <a:p>
                <a:r>
                  <a:rPr lang="en-US" sz="1200" dirty="0" smtClean="0">
                    <a:solidFill>
                      <a:schemeClr val="bg1">
                        <a:lumMod val="75000"/>
                      </a:schemeClr>
                    </a:solidFill>
                    <a:latin typeface="Source Sans Pro Light" panose="020B0403030403020204" pitchFamily="34" charset="0"/>
                    <a:cs typeface="Source Sans Pro Light"/>
                  </a:rPr>
                  <a:t>Mapping Customers |       References</a:t>
                </a:r>
                <a:endParaRPr lang="en-US" sz="1200" dirty="0">
                  <a:solidFill>
                    <a:schemeClr val="bg1">
                      <a:lumMod val="75000"/>
                    </a:schemeClr>
                  </a:solidFill>
                  <a:latin typeface="Source Sans Pro Light" panose="020B0403030403020204" pitchFamily="34" charset="0"/>
                  <a:cs typeface="Source Sans Pro"/>
                </a:endParaRPr>
              </a:p>
            </p:txBody>
          </p:sp>
          <p:sp>
            <p:nvSpPr>
              <p:cNvPr id="20" name="Rectangle 7"/>
              <p:cNvSpPr/>
              <p:nvPr>
                <p:custDataLst>
                  <p:tags r:id="rId2"/>
                </p:custDataLst>
              </p:nvPr>
            </p:nvSpPr>
            <p:spPr bwMode="auto">
              <a:xfrm>
                <a:off x="5673080" y="6598784"/>
                <a:ext cx="4241304" cy="260648"/>
              </a:xfrm>
              <a:prstGeom prst="rect">
                <a:avLst/>
              </a:prstGeom>
              <a:solidFill>
                <a:schemeClr val="tx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29" tIns="0" rIns="91429" bIns="45715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r"/>
                <a:r>
                  <a:rPr lang="en-US" sz="1200" dirty="0" smtClean="0">
                    <a:solidFill>
                      <a:schemeClr val="bg1">
                        <a:lumMod val="75000"/>
                      </a:schemeClr>
                    </a:solidFill>
                    <a:latin typeface="Source Sans Pro Light" panose="020B0403030403020204" pitchFamily="34" charset="0"/>
                    <a:cs typeface="Source Sans Pro"/>
                    <a:sym typeface="Monotype Sorts"/>
                  </a:rPr>
                  <a:t>Salome </a:t>
                </a:r>
                <a:r>
                  <a:rPr lang="en-US" sz="1200" dirty="0">
                    <a:solidFill>
                      <a:schemeClr val="bg1">
                        <a:lumMod val="75000"/>
                      </a:schemeClr>
                    </a:solidFill>
                    <a:latin typeface="Source Sans Pro Light" panose="020B0403030403020204" pitchFamily="34" charset="0"/>
                    <a:cs typeface="Source Sans Pro"/>
                    <a:sym typeface="Monotype Sorts"/>
                  </a:rPr>
                  <a:t>Lang</a:t>
                </a:r>
              </a:p>
            </p:txBody>
          </p:sp>
        </p:grpSp>
        <p:sp>
          <p:nvSpPr>
            <p:cNvPr id="23" name="Ellipse 22"/>
            <p:cNvSpPr/>
            <p:nvPr/>
          </p:nvSpPr>
          <p:spPr bwMode="auto">
            <a:xfrm>
              <a:off x="1460624" y="6655292"/>
              <a:ext cx="108000" cy="108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CH" sz="850" b="1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Source Sans Pro Light" panose="020B0403030403020204" pitchFamily="34" charset="0"/>
                </a:rPr>
                <a:t>6</a:t>
              </a:r>
              <a:endParaRPr kumimoji="0" lang="de-CH" sz="850" b="1" i="0" u="none" strike="noStrike" normalizeH="0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Source Sans Pro Light" panose="020B0403030403020204" pitchFamily="34" charset="0"/>
                <a:sym typeface="Neutraface Text Book" charset="0"/>
              </a:endParaRPr>
            </a:p>
          </p:txBody>
        </p:sp>
      </p:grpSp>
      <p:sp>
        <p:nvSpPr>
          <p:cNvPr id="22" name="Ellipse 21"/>
          <p:cNvSpPr/>
          <p:nvPr/>
        </p:nvSpPr>
        <p:spPr bwMode="auto">
          <a:xfrm>
            <a:off x="619125" y="2535971"/>
            <a:ext cx="288000" cy="288000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CH" sz="1600" b="1" dirty="0" smtClean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Source Sans Pro Light" panose="020B0403030403020204" pitchFamily="34" charset="0"/>
              </a:rPr>
              <a:t>3</a:t>
            </a:r>
            <a:endParaRPr kumimoji="0" lang="de-CH" sz="1600" b="1" i="0" u="none" strike="noStrike" normalizeH="0" baseline="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Source Sans Pro Light" panose="020B0403030403020204" pitchFamily="34" charset="0"/>
              <a:sym typeface="Neutraface Text Book" charset="0"/>
            </a:endParaRPr>
          </a:p>
        </p:txBody>
      </p:sp>
      <p:sp>
        <p:nvSpPr>
          <p:cNvPr id="37" name="Ellipse 36"/>
          <p:cNvSpPr/>
          <p:nvPr/>
        </p:nvSpPr>
        <p:spPr bwMode="auto">
          <a:xfrm>
            <a:off x="618904" y="3356992"/>
            <a:ext cx="288000" cy="288000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600" b="1" i="0" u="none" strike="noStrike" normalizeH="0" baseline="0" dirty="0" smtClean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Source Sans Pro Light" panose="020B0403030403020204" pitchFamily="34" charset="0"/>
                <a:sym typeface="Neutraface Text Book" charset="0"/>
              </a:rPr>
              <a:t>5</a:t>
            </a:r>
            <a:endParaRPr kumimoji="0" lang="de-CH" sz="1600" b="1" i="0" u="none" strike="noStrike" normalizeH="0" baseline="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Source Sans Pro Light" panose="020B0403030403020204" pitchFamily="34" charset="0"/>
              <a:sym typeface="Neutraface Text Book" charset="0"/>
            </a:endParaRPr>
          </a:p>
        </p:txBody>
      </p:sp>
      <p:sp>
        <p:nvSpPr>
          <p:cNvPr id="19" name="Ellipse 18"/>
          <p:cNvSpPr/>
          <p:nvPr/>
        </p:nvSpPr>
        <p:spPr bwMode="auto">
          <a:xfrm>
            <a:off x="618872" y="3777213"/>
            <a:ext cx="288000" cy="288000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CH" sz="1600" b="1" dirty="0" smtClean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Source Sans Pro Light" panose="020B0403030403020204" pitchFamily="34" charset="0"/>
              </a:rPr>
              <a:t>6</a:t>
            </a:r>
            <a:endParaRPr kumimoji="0" lang="de-CH" sz="1600" b="1" i="0" u="none" strike="noStrike" normalizeH="0" baseline="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Source Sans Pro Light" panose="020B0403030403020204" pitchFamily="34" charset="0"/>
              <a:sym typeface="Neutraface Text Boo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0448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pping Customers</a:t>
            </a:r>
            <a:r>
              <a:rPr lang="en-US" dirty="0" smtClean="0">
                <a:latin typeface="Source Sans Pro Semibold"/>
                <a:cs typeface="Source Sans Pro Semibold"/>
              </a:rPr>
              <a:t/>
            </a:r>
            <a:br>
              <a:rPr lang="en-US" dirty="0" smtClean="0">
                <a:latin typeface="Source Sans Pro Semibold"/>
                <a:cs typeface="Source Sans Pro Semibold"/>
              </a:rPr>
            </a:br>
            <a:r>
              <a:rPr lang="en-US" b="1" dirty="0" smtClean="0">
                <a:latin typeface="Source Sans Pro Semibold"/>
                <a:cs typeface="Source Sans Pro Semibold"/>
              </a:rPr>
              <a:t>Agenda</a:t>
            </a:r>
            <a:endParaRPr lang="en-US" b="1" dirty="0">
              <a:latin typeface="Source Sans Pro Semibold"/>
              <a:cs typeface="Source Sans Pro Semibold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9125" y="1564803"/>
            <a:ext cx="8667750" cy="4384477"/>
          </a:xfrm>
        </p:spPr>
        <p:txBody>
          <a:bodyPr/>
          <a:lstStyle/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>
                <a:sym typeface="Monotype Sorts"/>
              </a:rPr>
              <a:t>	</a:t>
            </a:r>
            <a:r>
              <a:rPr lang="en-US" dirty="0">
                <a:latin typeface="Source Sans Pro Bold" panose="020B0703030403020204" pitchFamily="34" charset="0"/>
                <a:sym typeface="Monotype Sorts"/>
              </a:rPr>
              <a:t>  </a:t>
            </a:r>
            <a:r>
              <a:rPr lang="en-US" dirty="0" smtClean="0">
                <a:latin typeface="Source Sans Pro Bold" panose="020B0703030403020204" pitchFamily="34" charset="0"/>
                <a:sym typeface="Monotype Sorts"/>
              </a:rPr>
              <a:t>Research Question</a:t>
            </a:r>
            <a:endParaRPr lang="en-US" dirty="0">
              <a:latin typeface="Source Sans Pro Bold" panose="020B0703030403020204" pitchFamily="34" charset="0"/>
              <a:sym typeface="Monotype Sorts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>
                <a:latin typeface="Source Sans Pro Bold" panose="020B0703030403020204" pitchFamily="34" charset="0"/>
                <a:sym typeface="Monotype Sorts"/>
              </a:rPr>
              <a:t>	  </a:t>
            </a:r>
            <a:r>
              <a:rPr lang="en-US" dirty="0"/>
              <a:t>Introduction to Mapping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  <a:tabLst>
                <a:tab pos="444450" algn="l"/>
              </a:tabLst>
            </a:pPr>
            <a:r>
              <a:rPr lang="en-US" dirty="0">
                <a:latin typeface="Source Sans Pro Bold" panose="020B0703030403020204" pitchFamily="34" charset="0"/>
                <a:sym typeface="Monotype Sorts"/>
              </a:rPr>
              <a:t>	</a:t>
            </a:r>
            <a:r>
              <a:rPr lang="en-US" dirty="0"/>
              <a:t>Data </a:t>
            </a:r>
            <a:r>
              <a:rPr lang="en-US" dirty="0" smtClean="0"/>
              <a:t>Screening &amp; Descriptives</a:t>
            </a:r>
            <a:endParaRPr lang="en-US" dirty="0"/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  <a:tabLst>
                <a:tab pos="444450" algn="l"/>
              </a:tabLst>
            </a:pPr>
            <a:r>
              <a:rPr lang="en-US" dirty="0" smtClean="0"/>
              <a:t>§	</a:t>
            </a:r>
            <a:r>
              <a:rPr lang="en-US" dirty="0"/>
              <a:t>Implementation in R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  <a:tabLst>
                <a:tab pos="444450" algn="l"/>
              </a:tabLst>
            </a:pPr>
            <a:r>
              <a:rPr lang="en-US" dirty="0">
                <a:sym typeface="Monotype Sorts"/>
              </a:rPr>
              <a:t>	</a:t>
            </a:r>
            <a:r>
              <a:rPr lang="en-US" dirty="0" smtClean="0">
                <a:sym typeface="Monotype Sorts"/>
              </a:rPr>
              <a:t>Summary</a:t>
            </a:r>
            <a:endParaRPr lang="en-US" dirty="0">
              <a:sym typeface="Monotype Sorts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  <a:tabLst>
                <a:tab pos="444450" algn="l"/>
              </a:tabLst>
            </a:pPr>
            <a:r>
              <a:rPr lang="de-CH" dirty="0" smtClean="0">
                <a:latin typeface="Source Sans Pro Light" panose="020B0403030403020204" pitchFamily="34" charset="0"/>
              </a:rPr>
              <a:t>	References</a:t>
            </a:r>
            <a:endParaRPr lang="en-US" dirty="0" smtClean="0">
              <a:latin typeface="Source Sans Pro Light" panose="020B0403030403020204" pitchFamily="34" charset="0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  <a:tabLst>
                <a:tab pos="444450" algn="l"/>
              </a:tabLst>
            </a:pPr>
            <a:r>
              <a:rPr lang="en-US" dirty="0">
                <a:sym typeface="Monotype Sorts"/>
              </a:rPr>
              <a:t>	</a:t>
            </a:r>
            <a:endParaRPr lang="en-US" dirty="0"/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  <a:tabLst>
                <a:tab pos="444450" algn="l"/>
              </a:tabLst>
            </a:pPr>
            <a:endParaRPr lang="en-US" dirty="0" smtClean="0"/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  <a:tabLst>
                <a:tab pos="444450" algn="l"/>
              </a:tabLst>
            </a:pPr>
            <a:endParaRPr lang="en-US" dirty="0"/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  <a:tabLst>
                <a:tab pos="444450" algn="l"/>
              </a:tabLst>
            </a:pPr>
            <a:r>
              <a:rPr lang="en-US" sz="2200" dirty="0">
                <a:sym typeface="Monotype Sorts"/>
              </a:rPr>
              <a:t>	</a:t>
            </a:r>
            <a:endParaRPr lang="en-US" dirty="0"/>
          </a:p>
          <a:p>
            <a:pPr marL="0" indent="0">
              <a:spcAft>
                <a:spcPts val="1200"/>
              </a:spcAft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dirty="0" smtClean="0"/>
              <a:t> </a:t>
            </a:r>
            <a:endParaRPr lang="en-US" dirty="0"/>
          </a:p>
        </p:txBody>
      </p:sp>
      <p:sp>
        <p:nvSpPr>
          <p:cNvPr id="24" name="Rectangle 23"/>
          <p:cNvSpPr/>
          <p:nvPr/>
        </p:nvSpPr>
        <p:spPr bwMode="auto">
          <a:xfrm>
            <a:off x="0" y="2"/>
            <a:ext cx="256928" cy="1196975"/>
          </a:xfrm>
          <a:prstGeom prst="rect">
            <a:avLst/>
          </a:prstGeom>
          <a:solidFill>
            <a:schemeClr val="accent6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29" tIns="45715" rIns="91429" bIns="45715" numCol="1" rtlCol="0" anchor="t" anchorCtr="0" compatLnSpc="1">
            <a:prstTxWarp prst="textNoShape">
              <a:avLst/>
            </a:prstTxWarp>
          </a:bodyPr>
          <a:lstStyle/>
          <a:p>
            <a:pPr defTabSz="914296"/>
            <a:endParaRPr lang="en-US" sz="2300" dirty="0">
              <a:latin typeface="Source Sans Pro Light"/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CH" b="1" dirty="0" smtClean="0">
                <a:solidFill>
                  <a:schemeClr val="bg1"/>
                </a:solidFill>
              </a:rPr>
              <a:t>Outline</a:t>
            </a:r>
            <a:endParaRPr lang="de-CH" b="1" dirty="0">
              <a:solidFill>
                <a:schemeClr val="bg1"/>
              </a:solidFill>
            </a:endParaRPr>
          </a:p>
        </p:txBody>
      </p:sp>
      <p:sp>
        <p:nvSpPr>
          <p:cNvPr id="6" name="Ellipse 5"/>
          <p:cNvSpPr/>
          <p:nvPr/>
        </p:nvSpPr>
        <p:spPr bwMode="auto">
          <a:xfrm>
            <a:off x="619125" y="2115750"/>
            <a:ext cx="288000" cy="288000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600" b="1" i="0" u="none" strike="noStrike" normalizeH="0" baseline="0" dirty="0" smtClean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Source Sans Pro Light" panose="020B0403030403020204" pitchFamily="34" charset="0"/>
                <a:sym typeface="Neutraface Text Book" charset="0"/>
              </a:rPr>
              <a:t>2</a:t>
            </a:r>
            <a:endParaRPr kumimoji="0" lang="de-CH" sz="1600" b="1" i="0" u="none" strike="noStrike" normalizeH="0" baseline="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Source Sans Pro Light" panose="020B0403030403020204" pitchFamily="34" charset="0"/>
              <a:sym typeface="Neutraface Text Book" charset="0"/>
            </a:endParaRPr>
          </a:p>
        </p:txBody>
      </p:sp>
      <p:sp>
        <p:nvSpPr>
          <p:cNvPr id="11" name="Ellipse 10"/>
          <p:cNvSpPr/>
          <p:nvPr/>
        </p:nvSpPr>
        <p:spPr bwMode="auto">
          <a:xfrm>
            <a:off x="616810" y="1700808"/>
            <a:ext cx="288000" cy="288000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600" b="1" i="0" u="none" strike="noStrike" normalizeH="0" baseline="0" dirty="0" smtClean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Source Sans Pro Light" panose="020B0403030403020204" pitchFamily="34" charset="0"/>
                <a:sym typeface="Neutraface Text Book" charset="0"/>
              </a:rPr>
              <a:t>1</a:t>
            </a:r>
            <a:endParaRPr kumimoji="0" lang="de-CH" sz="1600" b="1" i="0" u="none" strike="noStrike" normalizeH="0" baseline="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Source Sans Pro Light" panose="020B0403030403020204" pitchFamily="34" charset="0"/>
              <a:sym typeface="Neutraface Text Book" charset="0"/>
            </a:endParaRPr>
          </a:p>
        </p:txBody>
      </p:sp>
      <p:sp>
        <p:nvSpPr>
          <p:cNvPr id="13" name="Ellipse 12"/>
          <p:cNvSpPr/>
          <p:nvPr/>
        </p:nvSpPr>
        <p:spPr bwMode="auto">
          <a:xfrm>
            <a:off x="619125" y="2945991"/>
            <a:ext cx="288000" cy="288000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600" b="1" i="0" u="none" strike="noStrike" normalizeH="0" baseline="0" dirty="0" smtClean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Source Sans Pro Light" panose="020B0403030403020204" pitchFamily="34" charset="0"/>
                <a:sym typeface="Neutraface Text Book" charset="0"/>
              </a:rPr>
              <a:t>4</a:t>
            </a:r>
            <a:endParaRPr kumimoji="0" lang="de-CH" sz="1600" b="1" i="0" u="none" strike="noStrike" normalizeH="0" baseline="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Source Sans Pro Light" panose="020B0403030403020204" pitchFamily="34" charset="0"/>
              <a:sym typeface="Neutraface Text Book" charset="0"/>
            </a:endParaRPr>
          </a:p>
        </p:txBody>
      </p:sp>
      <p:grpSp>
        <p:nvGrpSpPr>
          <p:cNvPr id="17" name="Gruppieren 16"/>
          <p:cNvGrpSpPr/>
          <p:nvPr/>
        </p:nvGrpSpPr>
        <p:grpSpPr>
          <a:xfrm>
            <a:off x="0" y="6598784"/>
            <a:ext cx="9914384" cy="260648"/>
            <a:chOff x="0" y="6598784"/>
            <a:chExt cx="9914384" cy="260648"/>
          </a:xfrm>
        </p:grpSpPr>
        <p:grpSp>
          <p:nvGrpSpPr>
            <p:cNvPr id="18" name="Gruppieren 17"/>
            <p:cNvGrpSpPr/>
            <p:nvPr/>
          </p:nvGrpSpPr>
          <p:grpSpPr>
            <a:xfrm>
              <a:off x="0" y="6598784"/>
              <a:ext cx="9914384" cy="260648"/>
              <a:chOff x="0" y="6598784"/>
              <a:chExt cx="9914384" cy="260648"/>
            </a:xfrm>
          </p:grpSpPr>
          <p:sp>
            <p:nvSpPr>
              <p:cNvPr id="21" name="Rectangle 7"/>
              <p:cNvSpPr/>
              <p:nvPr>
                <p:custDataLst>
                  <p:tags r:id="rId1"/>
                </p:custDataLst>
              </p:nvPr>
            </p:nvSpPr>
            <p:spPr bwMode="auto">
              <a:xfrm>
                <a:off x="0" y="6614991"/>
                <a:ext cx="5601072" cy="243009"/>
              </a:xfrm>
              <a:prstGeom prst="rect">
                <a:avLst/>
              </a:prstGeom>
              <a:solidFill>
                <a:schemeClr val="tx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29" tIns="0" rIns="91429" bIns="45715" numCol="1" rtlCol="0" anchor="t" anchorCtr="0" compatLnSpc="1">
                <a:prstTxWarp prst="textNoShape">
                  <a:avLst/>
                </a:prstTxWarp>
              </a:bodyPr>
              <a:lstStyle/>
              <a:p>
                <a:r>
                  <a:rPr lang="en-US" sz="1200" dirty="0" smtClean="0">
                    <a:solidFill>
                      <a:schemeClr val="bg1">
                        <a:lumMod val="75000"/>
                      </a:schemeClr>
                    </a:solidFill>
                    <a:latin typeface="Source Sans Pro Light" panose="020B0403030403020204" pitchFamily="34" charset="0"/>
                    <a:cs typeface="Source Sans Pro Light"/>
                  </a:rPr>
                  <a:t>Mapping Customers |       Research Question</a:t>
                </a:r>
                <a:endParaRPr lang="en-US" sz="1200" dirty="0">
                  <a:solidFill>
                    <a:schemeClr val="bg1">
                      <a:lumMod val="75000"/>
                    </a:schemeClr>
                  </a:solidFill>
                  <a:latin typeface="Source Sans Pro Light" panose="020B0403030403020204" pitchFamily="34" charset="0"/>
                  <a:cs typeface="Source Sans Pro"/>
                </a:endParaRPr>
              </a:p>
            </p:txBody>
          </p:sp>
          <p:sp>
            <p:nvSpPr>
              <p:cNvPr id="20" name="Rectangle 7"/>
              <p:cNvSpPr/>
              <p:nvPr>
                <p:custDataLst>
                  <p:tags r:id="rId2"/>
                </p:custDataLst>
              </p:nvPr>
            </p:nvSpPr>
            <p:spPr bwMode="auto">
              <a:xfrm>
                <a:off x="5673080" y="6598784"/>
                <a:ext cx="4241304" cy="260648"/>
              </a:xfrm>
              <a:prstGeom prst="rect">
                <a:avLst/>
              </a:prstGeom>
              <a:solidFill>
                <a:schemeClr val="tx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29" tIns="0" rIns="91429" bIns="45715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r"/>
                <a:r>
                  <a:rPr lang="en-US" sz="1200" dirty="0" smtClean="0">
                    <a:solidFill>
                      <a:schemeClr val="bg1">
                        <a:lumMod val="75000"/>
                      </a:schemeClr>
                    </a:solidFill>
                    <a:latin typeface="Source Sans Pro Light" panose="020B0403030403020204" pitchFamily="34" charset="0"/>
                    <a:cs typeface="Source Sans Pro"/>
                    <a:sym typeface="Monotype Sorts"/>
                  </a:rPr>
                  <a:t>Salome </a:t>
                </a:r>
                <a:r>
                  <a:rPr lang="en-US" sz="1200" dirty="0">
                    <a:solidFill>
                      <a:schemeClr val="bg1">
                        <a:lumMod val="75000"/>
                      </a:schemeClr>
                    </a:solidFill>
                    <a:latin typeface="Source Sans Pro Light" panose="020B0403030403020204" pitchFamily="34" charset="0"/>
                    <a:cs typeface="Source Sans Pro"/>
                    <a:sym typeface="Monotype Sorts"/>
                  </a:rPr>
                  <a:t>Lang</a:t>
                </a:r>
              </a:p>
            </p:txBody>
          </p:sp>
        </p:grpSp>
        <p:sp>
          <p:nvSpPr>
            <p:cNvPr id="23" name="Ellipse 22"/>
            <p:cNvSpPr/>
            <p:nvPr/>
          </p:nvSpPr>
          <p:spPr bwMode="auto">
            <a:xfrm>
              <a:off x="1460624" y="6655292"/>
              <a:ext cx="108000" cy="108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CH" sz="850" b="1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Source Sans Pro Light" panose="020B0403030403020204" pitchFamily="34" charset="0"/>
                </a:rPr>
                <a:t>1</a:t>
              </a:r>
              <a:endParaRPr kumimoji="0" lang="de-CH" sz="850" b="1" i="0" u="none" strike="noStrike" normalizeH="0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Source Sans Pro Light" panose="020B0403030403020204" pitchFamily="34" charset="0"/>
                <a:sym typeface="Neutraface Text Book" charset="0"/>
              </a:endParaRPr>
            </a:p>
          </p:txBody>
        </p:sp>
      </p:grpSp>
      <p:sp>
        <p:nvSpPr>
          <p:cNvPr id="22" name="Ellipse 21"/>
          <p:cNvSpPr/>
          <p:nvPr/>
        </p:nvSpPr>
        <p:spPr bwMode="auto">
          <a:xfrm>
            <a:off x="619125" y="2535971"/>
            <a:ext cx="288000" cy="288000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CH" sz="1600" b="1" dirty="0" smtClean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Source Sans Pro Light" panose="020B0403030403020204" pitchFamily="34" charset="0"/>
              </a:rPr>
              <a:t>3</a:t>
            </a:r>
            <a:endParaRPr kumimoji="0" lang="de-CH" sz="1600" b="1" i="0" u="none" strike="noStrike" normalizeH="0" baseline="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Source Sans Pro Light" panose="020B0403030403020204" pitchFamily="34" charset="0"/>
              <a:sym typeface="Neutraface Text Book" charset="0"/>
            </a:endParaRPr>
          </a:p>
        </p:txBody>
      </p:sp>
      <p:sp>
        <p:nvSpPr>
          <p:cNvPr id="37" name="Ellipse 36"/>
          <p:cNvSpPr/>
          <p:nvPr/>
        </p:nvSpPr>
        <p:spPr bwMode="auto">
          <a:xfrm>
            <a:off x="618904" y="3356992"/>
            <a:ext cx="288000" cy="288000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600" b="1" i="0" u="none" strike="noStrike" normalizeH="0" baseline="0" dirty="0" smtClean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Source Sans Pro Light" panose="020B0403030403020204" pitchFamily="34" charset="0"/>
                <a:sym typeface="Neutraface Text Book" charset="0"/>
              </a:rPr>
              <a:t>5</a:t>
            </a:r>
            <a:endParaRPr kumimoji="0" lang="de-CH" sz="1600" b="1" i="0" u="none" strike="noStrike" normalizeH="0" baseline="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Source Sans Pro Light" panose="020B0403030403020204" pitchFamily="34" charset="0"/>
              <a:sym typeface="Neutraface Text Book" charset="0"/>
            </a:endParaRPr>
          </a:p>
        </p:txBody>
      </p:sp>
      <p:sp>
        <p:nvSpPr>
          <p:cNvPr id="19" name="Ellipse 18"/>
          <p:cNvSpPr/>
          <p:nvPr/>
        </p:nvSpPr>
        <p:spPr bwMode="auto">
          <a:xfrm>
            <a:off x="618872" y="3777213"/>
            <a:ext cx="288000" cy="288000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CH" sz="1600" b="1" dirty="0" smtClean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Source Sans Pro Light" panose="020B0403030403020204" pitchFamily="34" charset="0"/>
              </a:rPr>
              <a:t>6</a:t>
            </a:r>
            <a:endParaRPr kumimoji="0" lang="de-CH" sz="1600" b="1" i="0" u="none" strike="noStrike" normalizeH="0" baseline="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Source Sans Pro Light" panose="020B0403030403020204" pitchFamily="34" charset="0"/>
              <a:sym typeface="Neutraface Text Boo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6233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>
          <a:solidFill>
            <a:srgbClr val="E6E6E6"/>
          </a:solidFill>
        </p:spPr>
        <p:txBody>
          <a:bodyPr/>
          <a:lstStyle/>
          <a:p>
            <a:r>
              <a:rPr lang="en-GB" b="1" dirty="0" smtClean="0">
                <a:solidFill>
                  <a:schemeClr val="bg1"/>
                </a:solidFill>
              </a:rPr>
              <a:t>References</a:t>
            </a: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37" name="Title 1"/>
          <p:cNvSpPr>
            <a:spLocks noGrp="1"/>
          </p:cNvSpPr>
          <p:nvPr>
            <p:ph type="title"/>
          </p:nvPr>
        </p:nvSpPr>
        <p:spPr>
          <a:xfrm>
            <a:off x="343684" y="367479"/>
            <a:ext cx="8027813" cy="571500"/>
          </a:xfrm>
        </p:spPr>
        <p:txBody>
          <a:bodyPr/>
          <a:lstStyle/>
          <a:p>
            <a:r>
              <a:rPr lang="en-US" b="1" dirty="0" smtClean="0"/>
              <a:t>References</a:t>
            </a:r>
            <a:endParaRPr lang="en-US" b="1" dirty="0"/>
          </a:p>
        </p:txBody>
      </p:sp>
      <p:sp>
        <p:nvSpPr>
          <p:cNvPr id="11" name="Inhaltsplatzhalter 3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605367" y="1556415"/>
            <a:ext cx="8682566" cy="4384477"/>
          </a:xfrm>
        </p:spPr>
        <p:txBody>
          <a:bodyPr/>
          <a:lstStyle/>
          <a:p>
            <a:pPr>
              <a:buFont typeface="Wingdings" panose="05000000000000000000" pitchFamily="2" charset="2"/>
              <a:buChar char="§"/>
            </a:pPr>
            <a:r>
              <a:rPr lang="en-GB" sz="1600" dirty="0" err="1"/>
              <a:t>Brunsdon</a:t>
            </a:r>
            <a:r>
              <a:rPr lang="en-GB" sz="1600" dirty="0"/>
              <a:t>, Chris, and Lex Comber. </a:t>
            </a:r>
            <a:r>
              <a:rPr lang="en-GB" sz="1600" i="1" dirty="0"/>
              <a:t>An Introduction to R for Spatial Analysis Et Mapping</a:t>
            </a:r>
            <a:r>
              <a:rPr lang="en-GB" sz="1600" dirty="0"/>
              <a:t>. London: Sage, 2015</a:t>
            </a:r>
            <a:r>
              <a:rPr lang="en-GB" sz="1600" dirty="0" smtClean="0"/>
              <a:t>.</a:t>
            </a:r>
          </a:p>
          <a:p>
            <a:pPr lvl="0">
              <a:buFont typeface="Wingdings" panose="05000000000000000000" pitchFamily="2" charset="2"/>
              <a:buChar char="§"/>
            </a:pPr>
            <a:r>
              <a:rPr lang="en-GB" sz="1600" dirty="0" smtClean="0"/>
              <a:t>Campo</a:t>
            </a:r>
            <a:r>
              <a:rPr lang="en-GB" sz="1600" dirty="0"/>
              <a:t>, K., </a:t>
            </a:r>
            <a:r>
              <a:rPr lang="en-GB" sz="1600" dirty="0" err="1"/>
              <a:t>Gijsbrechts</a:t>
            </a:r>
            <a:r>
              <a:rPr lang="en-GB" sz="1600" dirty="0"/>
              <a:t>, E., </a:t>
            </a:r>
            <a:r>
              <a:rPr lang="en-GB" sz="1600" dirty="0" err="1"/>
              <a:t>Goossens</a:t>
            </a:r>
            <a:r>
              <a:rPr lang="en-GB" sz="1600" dirty="0"/>
              <a:t>, T., &amp; </a:t>
            </a:r>
            <a:r>
              <a:rPr lang="en-GB" sz="1600" dirty="0" err="1"/>
              <a:t>Verhetsel</a:t>
            </a:r>
            <a:r>
              <a:rPr lang="en-GB" sz="1600" dirty="0"/>
              <a:t>, A. (2000). The impact of location factors on the attractiveness and optimal space shares of product categories. </a:t>
            </a:r>
            <a:r>
              <a:rPr lang="en-GB" sz="1600" i="1" dirty="0"/>
              <a:t>International Journal of Research in Marketing</a:t>
            </a:r>
            <a:r>
              <a:rPr lang="en-GB" sz="1600" dirty="0"/>
              <a:t>, </a:t>
            </a:r>
            <a:r>
              <a:rPr lang="en-GB" sz="1600" i="1" dirty="0"/>
              <a:t>17</a:t>
            </a:r>
            <a:r>
              <a:rPr lang="en-GB" sz="1600" dirty="0"/>
              <a:t>(4), </a:t>
            </a:r>
            <a:r>
              <a:rPr lang="en-GB" sz="1600" dirty="0" smtClean="0"/>
              <a:t>255-279.</a:t>
            </a:r>
          </a:p>
          <a:p>
            <a:pPr lvl="0">
              <a:buFont typeface="Wingdings" panose="05000000000000000000" pitchFamily="2" charset="2"/>
              <a:buChar char="§"/>
            </a:pPr>
            <a:r>
              <a:rPr lang="en-GB" sz="1600" dirty="0" smtClean="0"/>
              <a:t>Frazier</a:t>
            </a:r>
            <a:r>
              <a:rPr lang="en-GB" sz="1600" dirty="0"/>
              <a:t>, M.: Overview of Coordinate Reference Systems (CRS) in </a:t>
            </a:r>
            <a:r>
              <a:rPr lang="en-GB" sz="1600" dirty="0" smtClean="0"/>
              <a:t>R. Link</a:t>
            </a:r>
            <a:r>
              <a:rPr lang="en-GB" sz="1600" dirty="0"/>
              <a:t>: https://www.google.ch/url?sa=t&amp;rct=j&amp;q=&amp;esrc=s&amp;source=web&amp;cd=1&amp;cad=rja&amp;uact=8&amp;ved=0ahUKEwi_xrqHirjJAhUDIg8KHbMOB3sQFggeMAA&amp;url=https%3A%2F%2Fwww.nceas.ucsb.edu%2F~frazier%2FRSpatialGuides%2FOverviewCoordinateReferenceSystems.pdf&amp;usg=AFQjCNHm-nq1ZLij4bTWVM-5SR4Ygs-Xyw&amp;sig2=JZtr4LpwkR9fxzOJtpJjEw</a:t>
            </a:r>
            <a:r>
              <a:rPr lang="en-GB" sz="1600" dirty="0" smtClean="0"/>
              <a:t>	</a:t>
            </a:r>
          </a:p>
          <a:p>
            <a:pPr marL="0" lvl="0" indent="0">
              <a:buNone/>
            </a:pPr>
            <a:endParaRPr lang="en-GB" sz="1600" dirty="0" smtClean="0"/>
          </a:p>
        </p:txBody>
      </p:sp>
      <p:grpSp>
        <p:nvGrpSpPr>
          <p:cNvPr id="15" name="Gruppieren 14"/>
          <p:cNvGrpSpPr/>
          <p:nvPr/>
        </p:nvGrpSpPr>
        <p:grpSpPr>
          <a:xfrm>
            <a:off x="0" y="6598784"/>
            <a:ext cx="9914384" cy="260648"/>
            <a:chOff x="0" y="6598784"/>
            <a:chExt cx="9914384" cy="260648"/>
          </a:xfrm>
        </p:grpSpPr>
        <p:grpSp>
          <p:nvGrpSpPr>
            <p:cNvPr id="17" name="Gruppieren 16"/>
            <p:cNvGrpSpPr/>
            <p:nvPr/>
          </p:nvGrpSpPr>
          <p:grpSpPr>
            <a:xfrm>
              <a:off x="0" y="6598784"/>
              <a:ext cx="9914384" cy="260648"/>
              <a:chOff x="0" y="6598784"/>
              <a:chExt cx="9914384" cy="260648"/>
            </a:xfrm>
          </p:grpSpPr>
          <p:sp>
            <p:nvSpPr>
              <p:cNvPr id="19" name="Rectangle 7"/>
              <p:cNvSpPr/>
              <p:nvPr>
                <p:custDataLst>
                  <p:tags r:id="rId2"/>
                </p:custDataLst>
              </p:nvPr>
            </p:nvSpPr>
            <p:spPr bwMode="auto">
              <a:xfrm>
                <a:off x="0" y="6614991"/>
                <a:ext cx="5601072" cy="243009"/>
              </a:xfrm>
              <a:prstGeom prst="rect">
                <a:avLst/>
              </a:prstGeom>
              <a:solidFill>
                <a:schemeClr val="tx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29" tIns="0" rIns="91429" bIns="45715" numCol="1" rtlCol="0" anchor="t" anchorCtr="0" compatLnSpc="1">
                <a:prstTxWarp prst="textNoShape">
                  <a:avLst/>
                </a:prstTxWarp>
              </a:bodyPr>
              <a:lstStyle/>
              <a:p>
                <a:r>
                  <a:rPr lang="en-US" sz="1200" dirty="0" smtClean="0">
                    <a:solidFill>
                      <a:schemeClr val="bg1">
                        <a:lumMod val="75000"/>
                      </a:schemeClr>
                    </a:solidFill>
                    <a:latin typeface="Source Sans Pro Light" panose="020B0403030403020204" pitchFamily="34" charset="0"/>
                    <a:cs typeface="Source Sans Pro Light"/>
                  </a:rPr>
                  <a:t>Mapping Customers |       References</a:t>
                </a:r>
                <a:endParaRPr lang="en-US" sz="1200" dirty="0">
                  <a:solidFill>
                    <a:schemeClr val="bg1">
                      <a:lumMod val="75000"/>
                    </a:schemeClr>
                  </a:solidFill>
                  <a:latin typeface="Source Sans Pro Light" panose="020B0403030403020204" pitchFamily="34" charset="0"/>
                  <a:cs typeface="Source Sans Pro"/>
                </a:endParaRPr>
              </a:p>
            </p:txBody>
          </p:sp>
          <p:sp>
            <p:nvSpPr>
              <p:cNvPr id="20" name="Rectangle 7"/>
              <p:cNvSpPr/>
              <p:nvPr>
                <p:custDataLst>
                  <p:tags r:id="rId3"/>
                </p:custDataLst>
              </p:nvPr>
            </p:nvSpPr>
            <p:spPr bwMode="auto">
              <a:xfrm>
                <a:off x="5673080" y="6598784"/>
                <a:ext cx="4241304" cy="260648"/>
              </a:xfrm>
              <a:prstGeom prst="rect">
                <a:avLst/>
              </a:prstGeom>
              <a:solidFill>
                <a:schemeClr val="tx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29" tIns="0" rIns="91429" bIns="45715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r"/>
                <a:r>
                  <a:rPr lang="en-US" sz="1200" dirty="0" smtClean="0">
                    <a:solidFill>
                      <a:schemeClr val="bg1">
                        <a:lumMod val="75000"/>
                      </a:schemeClr>
                    </a:solidFill>
                    <a:latin typeface="Source Sans Pro Light" panose="020B0403030403020204" pitchFamily="34" charset="0"/>
                    <a:cs typeface="Source Sans Pro"/>
                    <a:sym typeface="Monotype Sorts"/>
                  </a:rPr>
                  <a:t>Salome </a:t>
                </a:r>
                <a:r>
                  <a:rPr lang="en-US" sz="1200" dirty="0">
                    <a:solidFill>
                      <a:schemeClr val="bg1">
                        <a:lumMod val="75000"/>
                      </a:schemeClr>
                    </a:solidFill>
                    <a:latin typeface="Source Sans Pro Light" panose="020B0403030403020204" pitchFamily="34" charset="0"/>
                    <a:cs typeface="Source Sans Pro"/>
                    <a:sym typeface="Monotype Sorts"/>
                  </a:rPr>
                  <a:t>Lang</a:t>
                </a:r>
              </a:p>
            </p:txBody>
          </p:sp>
        </p:grpSp>
        <p:sp>
          <p:nvSpPr>
            <p:cNvPr id="18" name="Ellipse 17"/>
            <p:cNvSpPr/>
            <p:nvPr/>
          </p:nvSpPr>
          <p:spPr bwMode="auto">
            <a:xfrm>
              <a:off x="1460624" y="6655292"/>
              <a:ext cx="108000" cy="108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CH" sz="850" b="1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Source Sans Pro Light" panose="020B0403030403020204" pitchFamily="34" charset="0"/>
                </a:rPr>
                <a:t>6</a:t>
              </a:r>
              <a:endParaRPr kumimoji="0" lang="de-CH" sz="850" b="1" i="0" u="none" strike="noStrike" normalizeH="0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Source Sans Pro Light" panose="020B0403030403020204" pitchFamily="34" charset="0"/>
                <a:sym typeface="Neutraface Text Book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87855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>
          <a:solidFill>
            <a:srgbClr val="E6E6E6"/>
          </a:solidFill>
        </p:spPr>
        <p:txBody>
          <a:bodyPr/>
          <a:lstStyle/>
          <a:p>
            <a:r>
              <a:rPr lang="en-GB" b="1" dirty="0" smtClean="0">
                <a:solidFill>
                  <a:schemeClr val="bg1"/>
                </a:solidFill>
              </a:rPr>
              <a:t>References</a:t>
            </a: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37" name="Title 1"/>
          <p:cNvSpPr>
            <a:spLocks noGrp="1"/>
          </p:cNvSpPr>
          <p:nvPr>
            <p:ph type="title"/>
          </p:nvPr>
        </p:nvSpPr>
        <p:spPr>
          <a:xfrm>
            <a:off x="343684" y="367479"/>
            <a:ext cx="8027813" cy="571500"/>
          </a:xfrm>
        </p:spPr>
        <p:txBody>
          <a:bodyPr/>
          <a:lstStyle/>
          <a:p>
            <a:r>
              <a:rPr lang="en-US" b="1" dirty="0" smtClean="0"/>
              <a:t>References</a:t>
            </a:r>
            <a:endParaRPr lang="en-US" b="1" dirty="0"/>
          </a:p>
        </p:txBody>
      </p:sp>
      <p:sp>
        <p:nvSpPr>
          <p:cNvPr id="11" name="Inhaltsplatzhalter 3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605367" y="1556415"/>
            <a:ext cx="8682566" cy="4384477"/>
          </a:xfrm>
        </p:spPr>
        <p:txBody>
          <a:bodyPr/>
          <a:lstStyle/>
          <a:p>
            <a:pPr lvl="0">
              <a:buFont typeface="Wingdings" panose="05000000000000000000" pitchFamily="2" charset="2"/>
              <a:buChar char="§"/>
            </a:pPr>
            <a:r>
              <a:rPr lang="en-GB" sz="1600" dirty="0" err="1" smtClean="0"/>
              <a:t>Gijsbrechts</a:t>
            </a:r>
            <a:r>
              <a:rPr lang="en-GB" sz="1600" dirty="0"/>
              <a:t>, E., Campo, K., &amp; </a:t>
            </a:r>
            <a:r>
              <a:rPr lang="en-GB" sz="1600" dirty="0" err="1"/>
              <a:t>Goossens</a:t>
            </a:r>
            <a:r>
              <a:rPr lang="en-GB" sz="1600" dirty="0"/>
              <a:t>, T. (2003). The impact of store flyers on store traffic and store sales: a geo-marketing approach. </a:t>
            </a:r>
            <a:r>
              <a:rPr lang="en-GB" sz="1600" i="1" dirty="0"/>
              <a:t>Journal of Retailing</a:t>
            </a:r>
            <a:r>
              <a:rPr lang="en-GB" sz="1600" dirty="0"/>
              <a:t>, </a:t>
            </a:r>
            <a:r>
              <a:rPr lang="en-GB" sz="1600" i="1" dirty="0"/>
              <a:t>79</a:t>
            </a:r>
            <a:r>
              <a:rPr lang="en-GB" sz="1600" dirty="0"/>
              <a:t>(1), </a:t>
            </a:r>
            <a:r>
              <a:rPr lang="en-GB" sz="1600" dirty="0" smtClean="0"/>
              <a:t>1-16.</a:t>
            </a:r>
          </a:p>
          <a:p>
            <a:pPr lvl="0">
              <a:buFont typeface="Wingdings" panose="05000000000000000000" pitchFamily="2" charset="2"/>
              <a:buChar char="§"/>
            </a:pPr>
            <a:r>
              <a:rPr lang="en-GB" sz="1600" dirty="0"/>
              <a:t>Keck, François. </a:t>
            </a:r>
            <a:r>
              <a:rPr lang="en-GB" sz="1600" dirty="0" err="1" smtClean="0"/>
              <a:t>Rleafmap</a:t>
            </a:r>
            <a:r>
              <a:rPr lang="en-GB" sz="1600" dirty="0" smtClean="0"/>
              <a:t>: interactive </a:t>
            </a:r>
            <a:r>
              <a:rPr lang="en-GB" sz="1600" dirty="0"/>
              <a:t>maps with R and </a:t>
            </a:r>
            <a:r>
              <a:rPr lang="en-GB" sz="1600" dirty="0" smtClean="0"/>
              <a:t>leaflet. http</a:t>
            </a:r>
            <a:r>
              <a:rPr lang="en-GB" sz="1600" dirty="0"/>
              <a:t>://www.francoiskeck.fr/rleafmap/</a:t>
            </a:r>
          </a:p>
          <a:p>
            <a:pPr lvl="0">
              <a:buFont typeface="Wingdings" panose="05000000000000000000" pitchFamily="2" charset="2"/>
              <a:buChar char="§"/>
            </a:pPr>
            <a:endParaRPr lang="en-GB" sz="1600" dirty="0" smtClean="0"/>
          </a:p>
          <a:p>
            <a:pPr marL="0" lvl="0" indent="0">
              <a:buNone/>
            </a:pPr>
            <a:endParaRPr lang="en-GB" sz="1600" dirty="0" smtClean="0"/>
          </a:p>
        </p:txBody>
      </p:sp>
      <p:grpSp>
        <p:nvGrpSpPr>
          <p:cNvPr id="15" name="Gruppieren 14"/>
          <p:cNvGrpSpPr/>
          <p:nvPr/>
        </p:nvGrpSpPr>
        <p:grpSpPr>
          <a:xfrm>
            <a:off x="0" y="6598784"/>
            <a:ext cx="9914384" cy="260648"/>
            <a:chOff x="0" y="6598784"/>
            <a:chExt cx="9914384" cy="260648"/>
          </a:xfrm>
        </p:grpSpPr>
        <p:grpSp>
          <p:nvGrpSpPr>
            <p:cNvPr id="17" name="Gruppieren 16"/>
            <p:cNvGrpSpPr/>
            <p:nvPr/>
          </p:nvGrpSpPr>
          <p:grpSpPr>
            <a:xfrm>
              <a:off x="0" y="6598784"/>
              <a:ext cx="9914384" cy="260648"/>
              <a:chOff x="0" y="6598784"/>
              <a:chExt cx="9914384" cy="260648"/>
            </a:xfrm>
          </p:grpSpPr>
          <p:sp>
            <p:nvSpPr>
              <p:cNvPr id="19" name="Rectangle 7"/>
              <p:cNvSpPr/>
              <p:nvPr>
                <p:custDataLst>
                  <p:tags r:id="rId2"/>
                </p:custDataLst>
              </p:nvPr>
            </p:nvSpPr>
            <p:spPr bwMode="auto">
              <a:xfrm>
                <a:off x="0" y="6614991"/>
                <a:ext cx="5601072" cy="243009"/>
              </a:xfrm>
              <a:prstGeom prst="rect">
                <a:avLst/>
              </a:prstGeom>
              <a:solidFill>
                <a:schemeClr val="tx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29" tIns="0" rIns="91429" bIns="45715" numCol="1" rtlCol="0" anchor="t" anchorCtr="0" compatLnSpc="1">
                <a:prstTxWarp prst="textNoShape">
                  <a:avLst/>
                </a:prstTxWarp>
              </a:bodyPr>
              <a:lstStyle/>
              <a:p>
                <a:r>
                  <a:rPr lang="en-US" sz="1200" dirty="0" smtClean="0">
                    <a:solidFill>
                      <a:schemeClr val="bg1">
                        <a:lumMod val="75000"/>
                      </a:schemeClr>
                    </a:solidFill>
                    <a:latin typeface="Source Sans Pro Light" panose="020B0403030403020204" pitchFamily="34" charset="0"/>
                    <a:cs typeface="Source Sans Pro Light"/>
                  </a:rPr>
                  <a:t>Mapping Customers |       References</a:t>
                </a:r>
                <a:endParaRPr lang="en-US" sz="1200" dirty="0">
                  <a:solidFill>
                    <a:schemeClr val="bg1">
                      <a:lumMod val="75000"/>
                    </a:schemeClr>
                  </a:solidFill>
                  <a:latin typeface="Source Sans Pro Light" panose="020B0403030403020204" pitchFamily="34" charset="0"/>
                  <a:cs typeface="Source Sans Pro"/>
                </a:endParaRPr>
              </a:p>
            </p:txBody>
          </p:sp>
          <p:sp>
            <p:nvSpPr>
              <p:cNvPr id="20" name="Rectangle 7"/>
              <p:cNvSpPr/>
              <p:nvPr>
                <p:custDataLst>
                  <p:tags r:id="rId3"/>
                </p:custDataLst>
              </p:nvPr>
            </p:nvSpPr>
            <p:spPr bwMode="auto">
              <a:xfrm>
                <a:off x="5673080" y="6598784"/>
                <a:ext cx="4241304" cy="260648"/>
              </a:xfrm>
              <a:prstGeom prst="rect">
                <a:avLst/>
              </a:prstGeom>
              <a:solidFill>
                <a:schemeClr val="tx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29" tIns="0" rIns="91429" bIns="45715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r"/>
                <a:r>
                  <a:rPr lang="en-US" sz="1200" dirty="0" smtClean="0">
                    <a:solidFill>
                      <a:schemeClr val="bg1">
                        <a:lumMod val="75000"/>
                      </a:schemeClr>
                    </a:solidFill>
                    <a:latin typeface="Source Sans Pro Light" panose="020B0403030403020204" pitchFamily="34" charset="0"/>
                    <a:cs typeface="Source Sans Pro"/>
                    <a:sym typeface="Monotype Sorts"/>
                  </a:rPr>
                  <a:t>Salome </a:t>
                </a:r>
                <a:r>
                  <a:rPr lang="en-US" sz="1200" dirty="0">
                    <a:solidFill>
                      <a:schemeClr val="bg1">
                        <a:lumMod val="75000"/>
                      </a:schemeClr>
                    </a:solidFill>
                    <a:latin typeface="Source Sans Pro Light" panose="020B0403030403020204" pitchFamily="34" charset="0"/>
                    <a:cs typeface="Source Sans Pro"/>
                    <a:sym typeface="Monotype Sorts"/>
                  </a:rPr>
                  <a:t>Lang</a:t>
                </a:r>
              </a:p>
            </p:txBody>
          </p:sp>
        </p:grpSp>
        <p:sp>
          <p:nvSpPr>
            <p:cNvPr id="18" name="Ellipse 17"/>
            <p:cNvSpPr/>
            <p:nvPr/>
          </p:nvSpPr>
          <p:spPr bwMode="auto">
            <a:xfrm>
              <a:off x="1460624" y="6655292"/>
              <a:ext cx="108000" cy="108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CH" sz="850" b="1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Source Sans Pro Light" panose="020B0403030403020204" pitchFamily="34" charset="0"/>
                </a:rPr>
                <a:t>6</a:t>
              </a:r>
              <a:endParaRPr kumimoji="0" lang="de-CH" sz="850" b="1" i="0" u="none" strike="noStrike" normalizeH="0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Source Sans Pro Light" panose="020B0403030403020204" pitchFamily="34" charset="0"/>
                <a:sym typeface="Neutraface Text Book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11702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619125" y="2780928"/>
            <a:ext cx="8648402" cy="2286000"/>
          </a:xfrm>
          <a:solidFill>
            <a:srgbClr val="00009B"/>
          </a:solidFill>
        </p:spPr>
        <p:txBody>
          <a:bodyPr/>
          <a:lstStyle/>
          <a:p>
            <a:endParaRPr lang="en-US" dirty="0" smtClean="0"/>
          </a:p>
          <a:p>
            <a:endParaRPr lang="en-US" dirty="0" smtClean="0">
              <a:latin typeface="Source Sans Pro"/>
              <a:cs typeface="Source Sans Pro"/>
              <a:sym typeface="Monotype Sorts"/>
            </a:endParaRPr>
          </a:p>
          <a:p>
            <a:r>
              <a:rPr lang="en-US" dirty="0" smtClean="0">
                <a:latin typeface="Source Sans Pro"/>
                <a:cs typeface="Source Sans Pro"/>
                <a:sym typeface="Monotype Sorts"/>
              </a:rPr>
              <a:t>Salome Lang		</a:t>
            </a:r>
            <a:r>
              <a:rPr lang="en-GB" dirty="0" smtClean="0"/>
              <a:t>salome.lang@uzh.ch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19125" y="1904132"/>
            <a:ext cx="8648402" cy="660772"/>
          </a:xfrm>
        </p:spPr>
        <p:txBody>
          <a:bodyPr/>
          <a:lstStyle/>
          <a:p>
            <a:r>
              <a:rPr lang="en-US" dirty="0" smtClean="0">
                <a:latin typeface="Source Sans Pro"/>
                <a:cs typeface="Source Sans Pro"/>
                <a:sym typeface="Monotype Sorts"/>
              </a:rPr>
              <a:t>Social Customer Relationship Management: Group Assignment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5552" y="6597352"/>
            <a:ext cx="9906000" cy="259200"/>
          </a:xfrm>
        </p:spPr>
        <p:txBody>
          <a:bodyPr/>
          <a:lstStyle/>
          <a:p>
            <a:pPr algn="l">
              <a:lnSpc>
                <a:spcPct val="100000"/>
              </a:lnSpc>
            </a:pPr>
            <a:r>
              <a:rPr lang="en-US" dirty="0" smtClean="0">
                <a:solidFill>
                  <a:schemeClr val="tx1"/>
                </a:solidFill>
              </a:rPr>
              <a:t>Mapping Customers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5615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343684" y="367479"/>
            <a:ext cx="8425740" cy="571500"/>
          </a:xfrm>
        </p:spPr>
        <p:txBody>
          <a:bodyPr/>
          <a:lstStyle/>
          <a:p>
            <a:r>
              <a:rPr lang="en-GB" dirty="0" smtClean="0"/>
              <a:t>Data visualizations are essential in </a:t>
            </a:r>
            <a:r>
              <a:rPr lang="en-GB" dirty="0"/>
              <a:t>marketing analytics and maps are a popular form of visualization</a:t>
            </a:r>
          </a:p>
        </p:txBody>
      </p:sp>
      <p:sp>
        <p:nvSpPr>
          <p:cNvPr id="8" name="Inhaltsplatzhalt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>
                <a:latin typeface="Source Sans Pro" panose="020B0604020202020204" charset="0"/>
                <a:cs typeface="Source Sans Pro" panose="020B0604020202020204" charset="0"/>
              </a:rPr>
              <a:t>To </a:t>
            </a:r>
            <a:r>
              <a:rPr lang="en-GB" dirty="0" smtClean="0">
                <a:latin typeface="Source Sans Pro Bold" panose="020B0604020202020204" charset="0"/>
                <a:cs typeface="Source Sans Pro Bold" panose="020B0604020202020204" charset="0"/>
              </a:rPr>
              <a:t>communicate results </a:t>
            </a:r>
            <a:r>
              <a:rPr lang="en-GB" dirty="0" smtClean="0">
                <a:latin typeface="Source Sans Pro" panose="020B0604020202020204" charset="0"/>
                <a:cs typeface="Source Sans Pro" panose="020B0604020202020204" charset="0"/>
              </a:rPr>
              <a:t>by visualizing them for internal and external stakeholders is an important task in marketing analytics</a:t>
            </a:r>
          </a:p>
          <a:p>
            <a:r>
              <a:rPr lang="en-GB" dirty="0" smtClean="0">
                <a:latin typeface="Source Sans Pro" panose="020B0604020202020204" charset="0"/>
                <a:cs typeface="Source Sans Pro" panose="020B0604020202020204" charset="0"/>
              </a:rPr>
              <a:t>When the data includes </a:t>
            </a:r>
            <a:r>
              <a:rPr lang="en-GB" dirty="0" smtClean="0">
                <a:latin typeface="Source Sans Pro Bold" panose="020B0604020202020204" charset="0"/>
                <a:cs typeface="Source Sans Pro Bold" panose="020B0604020202020204" charset="0"/>
              </a:rPr>
              <a:t>geographic information</a:t>
            </a:r>
            <a:r>
              <a:rPr lang="en-GB" dirty="0" smtClean="0">
                <a:latin typeface="Source Sans Pro" panose="020B0604020202020204" charset="0"/>
                <a:cs typeface="Source Sans Pro" panose="020B0604020202020204" charset="0"/>
              </a:rPr>
              <a:t> (which is often the case with customer transaction data for example), an obvious option is to visualize it on a map</a:t>
            </a:r>
          </a:p>
          <a:p>
            <a:r>
              <a:rPr lang="en-GB" dirty="0" smtClean="0">
                <a:latin typeface="Source Sans Pro" panose="020B0604020202020204" charset="0"/>
                <a:cs typeface="Source Sans Pro" panose="020B0604020202020204" charset="0"/>
              </a:rPr>
              <a:t>Furthermore, it is often desirable to </a:t>
            </a:r>
            <a:r>
              <a:rPr lang="en-GB" b="1" dirty="0" smtClean="0">
                <a:latin typeface="Source Sans Pro" panose="020B0604020202020204" charset="0"/>
                <a:cs typeface="Source Sans Pro" panose="020B0604020202020204" charset="0"/>
              </a:rPr>
              <a:t>let the addressee interact </a:t>
            </a:r>
            <a:r>
              <a:rPr lang="en-GB" dirty="0" smtClean="0">
                <a:latin typeface="Source Sans Pro" panose="020B0604020202020204" charset="0"/>
                <a:cs typeface="Source Sans Pro" panose="020B0604020202020204" charset="0"/>
              </a:rPr>
              <a:t>with the analysis, ask own questions, and directly get the according answers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b="1" dirty="0" smtClean="0">
                <a:solidFill>
                  <a:schemeClr val="bg1"/>
                </a:solidFill>
              </a:rPr>
              <a:t>Question/Task</a:t>
            </a:r>
            <a:endParaRPr lang="en-GB" b="1" dirty="0">
              <a:solidFill>
                <a:schemeClr val="bg1"/>
              </a:solidFill>
            </a:endParaRPr>
          </a:p>
        </p:txBody>
      </p:sp>
      <p:graphicFrame>
        <p:nvGraphicFramePr>
          <p:cNvPr id="9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5557537"/>
              </p:ext>
            </p:extLst>
          </p:nvPr>
        </p:nvGraphicFramePr>
        <p:xfrm>
          <a:off x="-19044" y="5527896"/>
          <a:ext cx="9274871" cy="925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072"/>
                <a:gridCol w="8626799"/>
              </a:tblGrid>
              <a:tr h="925440">
                <a:tc>
                  <a:txBody>
                    <a:bodyPr/>
                    <a:lstStyle/>
                    <a:p>
                      <a:pPr algn="ctr">
                        <a:lnSpc>
                          <a:spcPts val="3600"/>
                        </a:lnSpc>
                      </a:pPr>
                      <a:r>
                        <a:rPr lang="en-US" sz="2500" noProof="0" dirty="0" smtClean="0">
                          <a:solidFill>
                            <a:srgbClr val="7F7F7F"/>
                          </a:solidFill>
                          <a:latin typeface="Source Sans Pro Light"/>
                          <a:cs typeface="Source Sans Pro Light"/>
                          <a:sym typeface="Wingdings 3"/>
                        </a:rPr>
                        <a:t></a:t>
                      </a:r>
                      <a:endParaRPr lang="en-US" sz="2500" noProof="0" dirty="0">
                        <a:solidFill>
                          <a:srgbClr val="7F7F7F"/>
                        </a:solidFill>
                        <a:latin typeface="Source Sans Pro Light"/>
                        <a:cs typeface="Source Sans Pro Light"/>
                      </a:endParaRPr>
                    </a:p>
                  </a:txBody>
                  <a:tcPr marL="0" marR="0" marT="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b="0" dirty="0" smtClean="0">
                          <a:solidFill>
                            <a:srgbClr val="7F7F7F"/>
                          </a:solidFill>
                          <a:latin typeface="Source Sans Pro Light"/>
                          <a:cs typeface="Source Sans Pro Light"/>
                        </a:rPr>
                        <a:t>The</a:t>
                      </a:r>
                      <a:r>
                        <a:rPr lang="en-US" sz="1800" b="0" baseline="0" dirty="0" smtClean="0">
                          <a:solidFill>
                            <a:srgbClr val="7F7F7F"/>
                          </a:solidFill>
                          <a:latin typeface="Source Sans Pro Light"/>
                          <a:cs typeface="Source Sans Pro Light"/>
                        </a:rPr>
                        <a:t> following presentation will guide you through the creation of an interactive thematic map on the example of a retailer’s customer transaction data</a:t>
                      </a:r>
                      <a:endParaRPr lang="en-US" sz="1800" b="0" dirty="0" smtClean="0">
                        <a:solidFill>
                          <a:srgbClr val="7F7F7F"/>
                        </a:solidFill>
                        <a:latin typeface="Source Sans Pro Light"/>
                        <a:cs typeface="Source Sans Pro Light"/>
                      </a:endParaRPr>
                    </a:p>
                  </a:txBody>
                  <a:tcPr marL="0" marR="0" marT="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</a:tr>
            </a:tbl>
          </a:graphicData>
        </a:graphic>
      </p:graphicFrame>
      <p:grpSp>
        <p:nvGrpSpPr>
          <p:cNvPr id="6" name="Gruppieren 5"/>
          <p:cNvGrpSpPr/>
          <p:nvPr/>
        </p:nvGrpSpPr>
        <p:grpSpPr>
          <a:xfrm>
            <a:off x="0" y="6598784"/>
            <a:ext cx="9914384" cy="260648"/>
            <a:chOff x="0" y="6598784"/>
            <a:chExt cx="9914384" cy="260648"/>
          </a:xfrm>
        </p:grpSpPr>
        <p:grpSp>
          <p:nvGrpSpPr>
            <p:cNvPr id="11" name="Gruppieren 10"/>
            <p:cNvGrpSpPr/>
            <p:nvPr/>
          </p:nvGrpSpPr>
          <p:grpSpPr>
            <a:xfrm>
              <a:off x="0" y="6598784"/>
              <a:ext cx="9914384" cy="260648"/>
              <a:chOff x="0" y="6598784"/>
              <a:chExt cx="9914384" cy="260648"/>
            </a:xfrm>
          </p:grpSpPr>
          <p:sp>
            <p:nvSpPr>
              <p:cNvPr id="13" name="Rectangle 7"/>
              <p:cNvSpPr/>
              <p:nvPr>
                <p:custDataLst>
                  <p:tags r:id="rId1"/>
                </p:custDataLst>
              </p:nvPr>
            </p:nvSpPr>
            <p:spPr bwMode="auto">
              <a:xfrm>
                <a:off x="0" y="6614991"/>
                <a:ext cx="5601072" cy="243009"/>
              </a:xfrm>
              <a:prstGeom prst="rect">
                <a:avLst/>
              </a:prstGeom>
              <a:solidFill>
                <a:schemeClr val="tx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29" tIns="0" rIns="91429" bIns="45715" numCol="1" rtlCol="0" anchor="t" anchorCtr="0" compatLnSpc="1">
                <a:prstTxWarp prst="textNoShape">
                  <a:avLst/>
                </a:prstTxWarp>
              </a:bodyPr>
              <a:lstStyle/>
              <a:p>
                <a:r>
                  <a:rPr lang="en-US" sz="1200" dirty="0" smtClean="0">
                    <a:solidFill>
                      <a:schemeClr val="bg1">
                        <a:lumMod val="75000"/>
                      </a:schemeClr>
                    </a:solidFill>
                    <a:latin typeface="Source Sans Pro Light" panose="020B0403030403020204" pitchFamily="34" charset="0"/>
                    <a:cs typeface="Source Sans Pro Light"/>
                  </a:rPr>
                  <a:t>Mapping Customers |       Research Question</a:t>
                </a:r>
                <a:endParaRPr lang="en-US" sz="1200" dirty="0">
                  <a:solidFill>
                    <a:schemeClr val="bg1">
                      <a:lumMod val="75000"/>
                    </a:schemeClr>
                  </a:solidFill>
                  <a:latin typeface="Source Sans Pro Light" panose="020B0403030403020204" pitchFamily="34" charset="0"/>
                  <a:cs typeface="Source Sans Pro"/>
                </a:endParaRPr>
              </a:p>
            </p:txBody>
          </p:sp>
          <p:sp>
            <p:nvSpPr>
              <p:cNvPr id="14" name="Rectangle 7"/>
              <p:cNvSpPr/>
              <p:nvPr>
                <p:custDataLst>
                  <p:tags r:id="rId2"/>
                </p:custDataLst>
              </p:nvPr>
            </p:nvSpPr>
            <p:spPr bwMode="auto">
              <a:xfrm>
                <a:off x="5673080" y="6598784"/>
                <a:ext cx="4241304" cy="260648"/>
              </a:xfrm>
              <a:prstGeom prst="rect">
                <a:avLst/>
              </a:prstGeom>
              <a:solidFill>
                <a:schemeClr val="tx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29" tIns="0" rIns="91429" bIns="45715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r"/>
                <a:r>
                  <a:rPr lang="en-US" sz="1200" dirty="0" smtClean="0">
                    <a:solidFill>
                      <a:schemeClr val="bg1">
                        <a:lumMod val="75000"/>
                      </a:schemeClr>
                    </a:solidFill>
                    <a:latin typeface="Source Sans Pro Light" panose="020B0403030403020204" pitchFamily="34" charset="0"/>
                    <a:cs typeface="Source Sans Pro"/>
                    <a:sym typeface="Monotype Sorts"/>
                  </a:rPr>
                  <a:t>Salome </a:t>
                </a:r>
                <a:r>
                  <a:rPr lang="en-US" sz="1200" dirty="0">
                    <a:solidFill>
                      <a:schemeClr val="bg1">
                        <a:lumMod val="75000"/>
                      </a:schemeClr>
                    </a:solidFill>
                    <a:latin typeface="Source Sans Pro Light" panose="020B0403030403020204" pitchFamily="34" charset="0"/>
                    <a:cs typeface="Source Sans Pro"/>
                    <a:sym typeface="Monotype Sorts"/>
                  </a:rPr>
                  <a:t>Lang</a:t>
                </a:r>
              </a:p>
            </p:txBody>
          </p:sp>
        </p:grpSp>
        <p:sp>
          <p:nvSpPr>
            <p:cNvPr id="12" name="Ellipse 11"/>
            <p:cNvSpPr/>
            <p:nvPr/>
          </p:nvSpPr>
          <p:spPr bwMode="auto">
            <a:xfrm>
              <a:off x="1460624" y="6655292"/>
              <a:ext cx="108000" cy="108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CH" sz="850" b="1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Source Sans Pro Light" panose="020B0403030403020204" pitchFamily="34" charset="0"/>
                </a:rPr>
                <a:t>1</a:t>
              </a:r>
              <a:endParaRPr kumimoji="0" lang="de-CH" sz="850" b="1" i="0" u="none" strike="noStrike" normalizeH="0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Source Sans Pro Light" panose="020B0403030403020204" pitchFamily="34" charset="0"/>
                <a:sym typeface="Neutraface Text Book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7516258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2520" y="4293096"/>
            <a:ext cx="3366374" cy="2101659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The weighted interactive map requires three inputs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b="1" dirty="0" err="1" smtClean="0">
                <a:solidFill>
                  <a:schemeClr val="bg1"/>
                </a:solidFill>
              </a:rPr>
              <a:t>Input/Output</a:t>
            </a:r>
            <a:endParaRPr lang="en-GB" b="1" dirty="0">
              <a:solidFill>
                <a:schemeClr val="bg1"/>
              </a:solidFill>
            </a:endParaRPr>
          </a:p>
        </p:txBody>
      </p:sp>
      <p:pic>
        <p:nvPicPr>
          <p:cNvPr id="11" name="Inhaltsplatzhalter 10"/>
          <p:cNvPicPr>
            <a:picLocks noGrp="1" noChangeAspect="1"/>
          </p:cNvPicPr>
          <p:nvPr>
            <p:ph idx="1"/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8103" y="2464648"/>
            <a:ext cx="4290152" cy="2885547"/>
          </a:xfrm>
        </p:spPr>
      </p:pic>
      <p:sp>
        <p:nvSpPr>
          <p:cNvPr id="24" name="Textfeld 23"/>
          <p:cNvSpPr txBox="1"/>
          <p:nvPr/>
        </p:nvSpPr>
        <p:spPr>
          <a:xfrm>
            <a:off x="1674561" y="1196752"/>
            <a:ext cx="13220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 smtClean="0">
                <a:solidFill>
                  <a:srgbClr val="2D2D8A"/>
                </a:solidFill>
                <a:latin typeface="Source Sans Pro"/>
              </a:rPr>
              <a:t>Input</a:t>
            </a:r>
            <a:endParaRPr lang="en-GB" b="1" dirty="0">
              <a:solidFill>
                <a:srgbClr val="2D2D8A"/>
              </a:solidFill>
              <a:latin typeface="Source Sans Pro"/>
            </a:endParaRPr>
          </a:p>
        </p:txBody>
      </p:sp>
      <p:sp>
        <p:nvSpPr>
          <p:cNvPr id="26" name="Textfeld 25"/>
          <p:cNvSpPr txBox="1"/>
          <p:nvPr/>
        </p:nvSpPr>
        <p:spPr>
          <a:xfrm>
            <a:off x="6811870" y="1196752"/>
            <a:ext cx="13220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 smtClean="0">
                <a:solidFill>
                  <a:srgbClr val="2D2D8A"/>
                </a:solidFill>
                <a:latin typeface="Source Sans Pro"/>
              </a:rPr>
              <a:t>Output</a:t>
            </a:r>
            <a:endParaRPr lang="en-GB" b="1" dirty="0">
              <a:solidFill>
                <a:srgbClr val="2D2D8A"/>
              </a:solidFill>
              <a:latin typeface="Source Sans Pro"/>
            </a:endParaRPr>
          </a:p>
        </p:txBody>
      </p:sp>
      <p:sp>
        <p:nvSpPr>
          <p:cNvPr id="30" name="Gestreifter Pfeil nach rechts 29"/>
          <p:cNvSpPr/>
          <p:nvPr/>
        </p:nvSpPr>
        <p:spPr bwMode="auto">
          <a:xfrm>
            <a:off x="4502950" y="3472730"/>
            <a:ext cx="900100" cy="864096"/>
          </a:xfrm>
          <a:prstGeom prst="stripedRightArrow">
            <a:avLst/>
          </a:prstGeom>
          <a:solidFill>
            <a:srgbClr val="00009B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aphicFrame>
        <p:nvGraphicFramePr>
          <p:cNvPr id="32" name="Inhaltsplatzhalt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39850764"/>
              </p:ext>
            </p:extLst>
          </p:nvPr>
        </p:nvGraphicFramePr>
        <p:xfrm>
          <a:off x="635679" y="1556792"/>
          <a:ext cx="3399771" cy="131806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296705"/>
                <a:gridCol w="1139161"/>
                <a:gridCol w="963905"/>
              </a:tblGrid>
              <a:tr h="465439"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 smtClean="0">
                          <a:solidFill>
                            <a:srgbClr val="E6E6E6"/>
                          </a:solidFill>
                          <a:latin typeface="Source Sans Pro Light"/>
                        </a:rPr>
                        <a:t>Customer ID</a:t>
                      </a:r>
                      <a:endParaRPr lang="en-US" sz="1200" b="1" noProof="0" dirty="0">
                        <a:solidFill>
                          <a:srgbClr val="E6E6E6"/>
                        </a:solidFill>
                        <a:latin typeface="Source Sans Pro Ligh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BB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B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D8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 err="1" smtClean="0">
                          <a:solidFill>
                            <a:srgbClr val="E6E6E6"/>
                          </a:solidFill>
                          <a:latin typeface="Source Sans Pro Light"/>
                        </a:rPr>
                        <a:t>AggPurchase</a:t>
                      </a:r>
                      <a:endParaRPr lang="en-US" sz="1200" b="1" noProof="0" dirty="0">
                        <a:solidFill>
                          <a:srgbClr val="E6E6E6"/>
                        </a:solidFill>
                        <a:latin typeface="Source Sans Pro Light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B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B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D8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 smtClean="0">
                          <a:solidFill>
                            <a:srgbClr val="E6E6E6"/>
                          </a:solidFill>
                          <a:latin typeface="Source Sans Pro Light"/>
                        </a:rPr>
                        <a:t>ZIP</a:t>
                      </a:r>
                      <a:r>
                        <a:rPr lang="en-US" sz="1200" b="1" baseline="0" noProof="0" dirty="0" smtClean="0">
                          <a:solidFill>
                            <a:srgbClr val="E6E6E6"/>
                          </a:solidFill>
                          <a:latin typeface="Source Sans Pro Light"/>
                        </a:rPr>
                        <a:t> code</a:t>
                      </a:r>
                      <a:endParaRPr lang="en-US" sz="1200" b="1" noProof="0" dirty="0">
                        <a:solidFill>
                          <a:srgbClr val="E6E6E6"/>
                        </a:solidFill>
                        <a:latin typeface="Source Sans Pro Light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B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B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D8A"/>
                    </a:solidFill>
                  </a:tcPr>
                </a:tc>
              </a:tr>
              <a:tr h="284207">
                <a:tc>
                  <a:txBody>
                    <a:bodyPr/>
                    <a:lstStyle/>
                    <a:p>
                      <a:pPr marL="0" algn="ctr" defTabSz="336736" rtl="0" eaLnBrk="1" fontAlgn="b" latinLnBrk="0" hangingPunct="1"/>
                      <a:r>
                        <a:rPr lang="en-GB" sz="1200" kern="1200" dirty="0" smtClean="0">
                          <a:solidFill>
                            <a:schemeClr val="tx2"/>
                          </a:solidFill>
                          <a:latin typeface="Source Sans Pro Light"/>
                          <a:ea typeface="+mn-ea"/>
                          <a:cs typeface="+mn-cs"/>
                        </a:rPr>
                        <a:t>565428</a:t>
                      </a:r>
                      <a:endParaRPr lang="en-GB" sz="1200" kern="1200" dirty="0">
                        <a:solidFill>
                          <a:schemeClr val="tx2"/>
                        </a:solidFill>
                        <a:latin typeface="Source Sans Pro Ligh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BB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kern="1200" noProof="0" dirty="0" smtClean="0">
                          <a:solidFill>
                            <a:schemeClr val="tx2"/>
                          </a:solidFill>
                          <a:latin typeface="Source Sans Pro Light"/>
                          <a:ea typeface="+mn-ea"/>
                          <a:cs typeface="+mn-cs"/>
                        </a:rPr>
                        <a:t>4,262.2</a:t>
                      </a:r>
                      <a:endParaRPr lang="en-US" sz="1200" kern="1200" noProof="0" dirty="0">
                        <a:solidFill>
                          <a:schemeClr val="tx2"/>
                        </a:solidFill>
                        <a:latin typeface="Source Sans Pro Ligh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B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kern="1200" dirty="0" smtClean="0">
                          <a:solidFill>
                            <a:schemeClr val="tx2"/>
                          </a:solidFill>
                          <a:latin typeface="Source Sans Pro Light"/>
                          <a:ea typeface="+mn-ea"/>
                          <a:cs typeface="+mn-cs"/>
                        </a:rPr>
                        <a:t>4532</a:t>
                      </a:r>
                      <a:endParaRPr lang="en-US" sz="1200" kern="1200" noProof="0" dirty="0" smtClean="0">
                        <a:solidFill>
                          <a:schemeClr val="tx2"/>
                        </a:solidFill>
                        <a:latin typeface="Source Sans Pro Ligh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B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</a:tr>
              <a:tr h="284207"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dirty="0" smtClean="0">
                          <a:solidFill>
                            <a:schemeClr val="tx2"/>
                          </a:solidFill>
                          <a:latin typeface="Source Sans Pro Light"/>
                        </a:rPr>
                        <a:t>171796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dirty="0" smtClean="0">
                          <a:solidFill>
                            <a:schemeClr val="tx2"/>
                          </a:solidFill>
                          <a:latin typeface="Source Sans Pro Light"/>
                        </a:rPr>
                        <a:t>2,916.4</a:t>
                      </a:r>
                      <a:endParaRPr lang="en-US" sz="1200" noProof="0" dirty="0">
                        <a:solidFill>
                          <a:schemeClr val="tx2"/>
                        </a:solidFill>
                        <a:latin typeface="Source Sans Pro Light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dirty="0" smtClean="0">
                          <a:solidFill>
                            <a:schemeClr val="tx2"/>
                          </a:solidFill>
                          <a:latin typeface="Source Sans Pro Light"/>
                        </a:rPr>
                        <a:t>4436</a:t>
                      </a:r>
                      <a:endParaRPr lang="en-US" sz="1200" noProof="0" dirty="0">
                        <a:solidFill>
                          <a:schemeClr val="tx2"/>
                        </a:solidFill>
                        <a:latin typeface="Source Sans Pro Light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</a:tr>
              <a:tr h="284207"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dirty="0" smtClean="0">
                          <a:solidFill>
                            <a:schemeClr val="tx2"/>
                          </a:solidFill>
                          <a:latin typeface="Source Sans Pro Light"/>
                        </a:rPr>
                        <a:t>810696</a:t>
                      </a:r>
                      <a:endParaRPr lang="en-US" sz="1200" noProof="0" dirty="0">
                        <a:solidFill>
                          <a:schemeClr val="tx2"/>
                        </a:solidFill>
                        <a:latin typeface="Source Sans Pro Ligh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3673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noProof="0" dirty="0" smtClean="0">
                          <a:solidFill>
                            <a:schemeClr val="tx2"/>
                          </a:solidFill>
                          <a:latin typeface="Source Sans Pro Light"/>
                        </a:rPr>
                        <a:t>1,525.3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dirty="0" smtClean="0">
                          <a:solidFill>
                            <a:schemeClr val="tx2"/>
                          </a:solidFill>
                          <a:latin typeface="Source Sans Pro Light"/>
                        </a:rPr>
                        <a:t>8006</a:t>
                      </a:r>
                      <a:endParaRPr lang="en-US" sz="1200" noProof="0" dirty="0">
                        <a:solidFill>
                          <a:schemeClr val="tx2"/>
                        </a:solidFill>
                        <a:latin typeface="Source Sans Pro Light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33" name="Inhaltsplatzhalt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86644988"/>
              </p:ext>
            </p:extLst>
          </p:nvPr>
        </p:nvGraphicFramePr>
        <p:xfrm>
          <a:off x="658901" y="2996952"/>
          <a:ext cx="3399771" cy="131806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296705"/>
                <a:gridCol w="1139161"/>
                <a:gridCol w="963905"/>
              </a:tblGrid>
              <a:tr h="465439"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 smtClean="0">
                          <a:solidFill>
                            <a:srgbClr val="E6E6E6"/>
                          </a:solidFill>
                          <a:latin typeface="Source Sans Pro Light"/>
                        </a:rPr>
                        <a:t>ZIP</a:t>
                      </a:r>
                      <a:r>
                        <a:rPr lang="en-US" sz="1200" b="1" baseline="0" noProof="0" dirty="0" smtClean="0">
                          <a:solidFill>
                            <a:srgbClr val="E6E6E6"/>
                          </a:solidFill>
                          <a:latin typeface="Source Sans Pro Light"/>
                        </a:rPr>
                        <a:t> code</a:t>
                      </a:r>
                      <a:endParaRPr lang="en-US" sz="1200" b="1" noProof="0" dirty="0">
                        <a:solidFill>
                          <a:srgbClr val="E6E6E6"/>
                        </a:solidFill>
                        <a:latin typeface="Source Sans Pro Ligh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BB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B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D8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 smtClean="0">
                          <a:solidFill>
                            <a:srgbClr val="E6E6E6"/>
                          </a:solidFill>
                          <a:latin typeface="Source Sans Pro Light"/>
                        </a:rPr>
                        <a:t>Total population</a:t>
                      </a:r>
                      <a:endParaRPr lang="en-US" sz="1200" b="1" noProof="0" dirty="0">
                        <a:solidFill>
                          <a:srgbClr val="E6E6E6"/>
                        </a:solidFill>
                        <a:latin typeface="Source Sans Pro Light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B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B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D8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 smtClean="0">
                          <a:solidFill>
                            <a:srgbClr val="E6E6E6"/>
                          </a:solidFill>
                          <a:latin typeface="Source Sans Pro Light"/>
                        </a:rPr>
                        <a:t>Female</a:t>
                      </a:r>
                      <a:endParaRPr lang="en-US" sz="1200" b="1" noProof="0" dirty="0">
                        <a:solidFill>
                          <a:srgbClr val="E6E6E6"/>
                        </a:solidFill>
                        <a:latin typeface="Source Sans Pro Light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B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B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D8A"/>
                    </a:solidFill>
                  </a:tcPr>
                </a:tc>
              </a:tr>
              <a:tr h="284207">
                <a:tc>
                  <a:txBody>
                    <a:bodyPr/>
                    <a:lstStyle/>
                    <a:p>
                      <a:pPr marL="0" algn="ctr" defTabSz="336736" rtl="0" eaLnBrk="1" fontAlgn="b" latinLnBrk="0" hangingPunct="1"/>
                      <a:r>
                        <a:rPr lang="en-GB" sz="1200" kern="1200" dirty="0" smtClean="0">
                          <a:solidFill>
                            <a:schemeClr val="tx2"/>
                          </a:solidFill>
                          <a:latin typeface="Source Sans Pro Light"/>
                          <a:ea typeface="+mn-ea"/>
                          <a:cs typeface="+mn-cs"/>
                        </a:rPr>
                        <a:t>1000</a:t>
                      </a:r>
                      <a:endParaRPr lang="en-GB" sz="1200" kern="1200" dirty="0">
                        <a:solidFill>
                          <a:schemeClr val="tx2"/>
                        </a:solidFill>
                        <a:latin typeface="Source Sans Pro Ligh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BB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kern="1200" noProof="0" dirty="0" smtClean="0">
                          <a:solidFill>
                            <a:schemeClr val="tx2"/>
                          </a:solidFill>
                          <a:latin typeface="Source Sans Pro Light"/>
                          <a:ea typeface="+mn-ea"/>
                          <a:cs typeface="+mn-cs"/>
                        </a:rPr>
                        <a:t>2,964</a:t>
                      </a:r>
                      <a:endParaRPr lang="en-US" sz="1200" kern="1200" noProof="0" dirty="0">
                        <a:solidFill>
                          <a:schemeClr val="tx2"/>
                        </a:solidFill>
                        <a:latin typeface="Source Sans Pro Ligh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B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kern="1200" noProof="0" dirty="0" smtClean="0">
                          <a:solidFill>
                            <a:schemeClr val="tx2"/>
                          </a:solidFill>
                          <a:latin typeface="Source Sans Pro Light"/>
                          <a:ea typeface="+mn-ea"/>
                          <a:cs typeface="+mn-cs"/>
                        </a:rPr>
                        <a:t>1,485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BE0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</a:tr>
              <a:tr h="284207"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dirty="0" smtClean="0">
                          <a:solidFill>
                            <a:schemeClr val="tx2"/>
                          </a:solidFill>
                          <a:latin typeface="Source Sans Pro Light"/>
                        </a:rPr>
                        <a:t>1003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dirty="0" smtClean="0">
                          <a:solidFill>
                            <a:schemeClr val="tx2"/>
                          </a:solidFill>
                          <a:latin typeface="Source Sans Pro Light"/>
                        </a:rPr>
                        <a:t>8,269</a:t>
                      </a:r>
                      <a:endParaRPr lang="en-US" sz="1200" noProof="0" dirty="0">
                        <a:solidFill>
                          <a:schemeClr val="tx2"/>
                        </a:solidFill>
                        <a:latin typeface="Source Sans Pro Light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dirty="0" smtClean="0">
                          <a:solidFill>
                            <a:schemeClr val="tx2"/>
                          </a:solidFill>
                          <a:latin typeface="Source Sans Pro Light"/>
                        </a:rPr>
                        <a:t>4,126</a:t>
                      </a:r>
                      <a:endParaRPr lang="en-US" sz="1200" noProof="0" dirty="0">
                        <a:solidFill>
                          <a:schemeClr val="tx2"/>
                        </a:solidFill>
                        <a:latin typeface="Source Sans Pro Light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</a:tr>
              <a:tr h="284207"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dirty="0" smtClean="0">
                          <a:solidFill>
                            <a:schemeClr val="tx2"/>
                          </a:solidFill>
                          <a:latin typeface="Source Sans Pro Light"/>
                        </a:rPr>
                        <a:t>1004</a:t>
                      </a:r>
                      <a:endParaRPr lang="en-US" sz="1200" noProof="0" dirty="0">
                        <a:solidFill>
                          <a:schemeClr val="tx2"/>
                        </a:solidFill>
                        <a:latin typeface="Source Sans Pro Ligh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3673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noProof="0" dirty="0" smtClean="0">
                          <a:solidFill>
                            <a:schemeClr val="tx2"/>
                          </a:solidFill>
                          <a:latin typeface="Source Sans Pro Light"/>
                        </a:rPr>
                        <a:t>28,996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dirty="0" smtClean="0">
                          <a:solidFill>
                            <a:schemeClr val="tx2"/>
                          </a:solidFill>
                          <a:latin typeface="Source Sans Pro Light"/>
                        </a:rPr>
                        <a:t>15,013</a:t>
                      </a:r>
                      <a:endParaRPr lang="en-US" sz="1200" noProof="0" dirty="0">
                        <a:solidFill>
                          <a:schemeClr val="tx2"/>
                        </a:solidFill>
                        <a:latin typeface="Source Sans Pro Light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34" name="Rounded Rectangular Callout 7"/>
          <p:cNvSpPr/>
          <p:nvPr>
            <p:custDataLst>
              <p:tags r:id="rId1"/>
            </p:custDataLst>
          </p:nvPr>
        </p:nvSpPr>
        <p:spPr bwMode="auto">
          <a:xfrm>
            <a:off x="0" y="858042"/>
            <a:ext cx="1928663" cy="604042"/>
          </a:xfrm>
          <a:prstGeom prst="wedgeRoundRectCallout">
            <a:avLst>
              <a:gd name="adj1" fmla="val 17857"/>
              <a:gd name="adj2" fmla="val 78500"/>
              <a:gd name="adj3" fmla="val 16667"/>
            </a:avLst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</a:bodyPr>
          <a:lstStyle/>
          <a:p>
            <a:pPr defTabSz="914296"/>
            <a:r>
              <a:rPr lang="en-US" sz="1200" dirty="0" smtClean="0">
                <a:latin typeface="Source Sans Pro Light"/>
                <a:cs typeface="Source Sans Pro Light"/>
              </a:rPr>
              <a:t>Customer transaction data including geographical information</a:t>
            </a:r>
          </a:p>
        </p:txBody>
      </p:sp>
      <p:sp>
        <p:nvSpPr>
          <p:cNvPr id="35" name="Rounded Rectangular Callout 7"/>
          <p:cNvSpPr/>
          <p:nvPr>
            <p:custDataLst>
              <p:tags r:id="rId2"/>
            </p:custDataLst>
          </p:nvPr>
        </p:nvSpPr>
        <p:spPr bwMode="auto">
          <a:xfrm>
            <a:off x="4085053" y="2350258"/>
            <a:ext cx="992560" cy="980149"/>
          </a:xfrm>
          <a:prstGeom prst="wedgeRoundRectCallout">
            <a:avLst>
              <a:gd name="adj1" fmla="val -65689"/>
              <a:gd name="adj2" fmla="val 42368"/>
              <a:gd name="adj3" fmla="val 16667"/>
            </a:avLst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</a:bodyPr>
          <a:lstStyle/>
          <a:p>
            <a:pPr defTabSz="914296"/>
            <a:r>
              <a:rPr lang="en-US" sz="1200" dirty="0" smtClean="0">
                <a:latin typeface="Source Sans Pro Light"/>
                <a:cs typeface="Source Sans Pro Light"/>
              </a:rPr>
              <a:t>Population statistics on same geographic layer</a:t>
            </a:r>
          </a:p>
        </p:txBody>
      </p:sp>
      <p:sp>
        <p:nvSpPr>
          <p:cNvPr id="36" name="Rounded Rectangular Callout 7"/>
          <p:cNvSpPr/>
          <p:nvPr>
            <p:custDataLst>
              <p:tags r:id="rId3"/>
            </p:custDataLst>
          </p:nvPr>
        </p:nvSpPr>
        <p:spPr bwMode="auto">
          <a:xfrm>
            <a:off x="57448" y="4534184"/>
            <a:ext cx="1133159" cy="739062"/>
          </a:xfrm>
          <a:prstGeom prst="wedgeRoundRectCallout">
            <a:avLst>
              <a:gd name="adj1" fmla="val 74391"/>
              <a:gd name="adj2" fmla="val -17447"/>
              <a:gd name="adj3" fmla="val 16667"/>
            </a:avLst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</a:bodyPr>
          <a:lstStyle/>
          <a:p>
            <a:pPr defTabSz="914296"/>
            <a:r>
              <a:rPr lang="en-US" sz="1200" dirty="0" smtClean="0">
                <a:latin typeface="Source Sans Pro Light"/>
                <a:cs typeface="Source Sans Pro Light"/>
              </a:rPr>
              <a:t>Shapefile containing the polygon shapes</a:t>
            </a:r>
          </a:p>
        </p:txBody>
      </p:sp>
      <p:sp>
        <p:nvSpPr>
          <p:cNvPr id="37" name="Rounded Rectangular Callout 7"/>
          <p:cNvSpPr/>
          <p:nvPr>
            <p:custDataLst>
              <p:tags r:id="rId4"/>
            </p:custDataLst>
          </p:nvPr>
        </p:nvSpPr>
        <p:spPr bwMode="auto">
          <a:xfrm>
            <a:off x="7689304" y="5414607"/>
            <a:ext cx="2054520" cy="606682"/>
          </a:xfrm>
          <a:prstGeom prst="wedgeRoundRectCallout">
            <a:avLst>
              <a:gd name="adj1" fmla="val 6821"/>
              <a:gd name="adj2" fmla="val -119691"/>
              <a:gd name="adj3" fmla="val 16667"/>
            </a:avLst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</a:bodyPr>
          <a:lstStyle/>
          <a:p>
            <a:pPr defTabSz="914296"/>
            <a:r>
              <a:rPr lang="en-US" sz="1200" dirty="0" smtClean="0">
                <a:latin typeface="Source Sans Pro Light"/>
                <a:cs typeface="Source Sans Pro Light"/>
              </a:rPr>
              <a:t>Interactive thematic map of the customer data weighted by population size</a:t>
            </a:r>
          </a:p>
        </p:txBody>
      </p:sp>
      <p:grpSp>
        <p:nvGrpSpPr>
          <p:cNvPr id="20" name="Gruppieren 19"/>
          <p:cNvGrpSpPr/>
          <p:nvPr/>
        </p:nvGrpSpPr>
        <p:grpSpPr>
          <a:xfrm>
            <a:off x="0" y="6598784"/>
            <a:ext cx="9914384" cy="260648"/>
            <a:chOff x="0" y="6598784"/>
            <a:chExt cx="9914384" cy="260648"/>
          </a:xfrm>
        </p:grpSpPr>
        <p:grpSp>
          <p:nvGrpSpPr>
            <p:cNvPr id="21" name="Gruppieren 20"/>
            <p:cNvGrpSpPr/>
            <p:nvPr/>
          </p:nvGrpSpPr>
          <p:grpSpPr>
            <a:xfrm>
              <a:off x="0" y="6598784"/>
              <a:ext cx="9914384" cy="260648"/>
              <a:chOff x="0" y="6598784"/>
              <a:chExt cx="9914384" cy="260648"/>
            </a:xfrm>
          </p:grpSpPr>
          <p:sp>
            <p:nvSpPr>
              <p:cNvPr id="23" name="Rectangle 7"/>
              <p:cNvSpPr/>
              <p:nvPr>
                <p:custDataLst>
                  <p:tags r:id="rId5"/>
                </p:custDataLst>
              </p:nvPr>
            </p:nvSpPr>
            <p:spPr bwMode="auto">
              <a:xfrm>
                <a:off x="0" y="6614991"/>
                <a:ext cx="5601072" cy="243009"/>
              </a:xfrm>
              <a:prstGeom prst="rect">
                <a:avLst/>
              </a:prstGeom>
              <a:solidFill>
                <a:schemeClr val="tx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29" tIns="0" rIns="91429" bIns="45715" numCol="1" rtlCol="0" anchor="t" anchorCtr="0" compatLnSpc="1">
                <a:prstTxWarp prst="textNoShape">
                  <a:avLst/>
                </a:prstTxWarp>
              </a:bodyPr>
              <a:lstStyle/>
              <a:p>
                <a:r>
                  <a:rPr lang="en-US" sz="1200" dirty="0" smtClean="0">
                    <a:solidFill>
                      <a:schemeClr val="bg1">
                        <a:lumMod val="75000"/>
                      </a:schemeClr>
                    </a:solidFill>
                    <a:latin typeface="Source Sans Pro Light" panose="020B0403030403020204" pitchFamily="34" charset="0"/>
                    <a:cs typeface="Source Sans Pro Light"/>
                  </a:rPr>
                  <a:t>Mapping Customers |       Research Question</a:t>
                </a:r>
                <a:endParaRPr lang="en-US" sz="1200" dirty="0">
                  <a:solidFill>
                    <a:schemeClr val="bg1">
                      <a:lumMod val="75000"/>
                    </a:schemeClr>
                  </a:solidFill>
                  <a:latin typeface="Source Sans Pro Light" panose="020B0403030403020204" pitchFamily="34" charset="0"/>
                  <a:cs typeface="Source Sans Pro"/>
                </a:endParaRPr>
              </a:p>
            </p:txBody>
          </p:sp>
          <p:sp>
            <p:nvSpPr>
              <p:cNvPr id="25" name="Rectangle 7"/>
              <p:cNvSpPr/>
              <p:nvPr>
                <p:custDataLst>
                  <p:tags r:id="rId6"/>
                </p:custDataLst>
              </p:nvPr>
            </p:nvSpPr>
            <p:spPr bwMode="auto">
              <a:xfrm>
                <a:off x="5673080" y="6598784"/>
                <a:ext cx="4241304" cy="260648"/>
              </a:xfrm>
              <a:prstGeom prst="rect">
                <a:avLst/>
              </a:prstGeom>
              <a:solidFill>
                <a:schemeClr val="tx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29" tIns="0" rIns="91429" bIns="45715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r"/>
                <a:r>
                  <a:rPr lang="en-US" sz="1200" dirty="0" smtClean="0">
                    <a:solidFill>
                      <a:schemeClr val="bg1">
                        <a:lumMod val="75000"/>
                      </a:schemeClr>
                    </a:solidFill>
                    <a:latin typeface="Source Sans Pro Light" panose="020B0403030403020204" pitchFamily="34" charset="0"/>
                    <a:cs typeface="Source Sans Pro"/>
                    <a:sym typeface="Monotype Sorts"/>
                  </a:rPr>
                  <a:t>Salome </a:t>
                </a:r>
                <a:r>
                  <a:rPr lang="en-US" sz="1200" dirty="0">
                    <a:solidFill>
                      <a:schemeClr val="bg1">
                        <a:lumMod val="75000"/>
                      </a:schemeClr>
                    </a:solidFill>
                    <a:latin typeface="Source Sans Pro Light" panose="020B0403030403020204" pitchFamily="34" charset="0"/>
                    <a:cs typeface="Source Sans Pro"/>
                    <a:sym typeface="Monotype Sorts"/>
                  </a:rPr>
                  <a:t>Lang</a:t>
                </a:r>
              </a:p>
            </p:txBody>
          </p:sp>
        </p:grpSp>
        <p:sp>
          <p:nvSpPr>
            <p:cNvPr id="22" name="Ellipse 21"/>
            <p:cNvSpPr/>
            <p:nvPr/>
          </p:nvSpPr>
          <p:spPr bwMode="auto">
            <a:xfrm>
              <a:off x="1460624" y="6655292"/>
              <a:ext cx="108000" cy="108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CH" sz="850" b="1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Source Sans Pro Light" panose="020B0403030403020204" pitchFamily="34" charset="0"/>
                </a:rPr>
                <a:t>1</a:t>
              </a:r>
              <a:endParaRPr kumimoji="0" lang="de-CH" sz="850" b="1" i="0" u="none" strike="noStrike" normalizeH="0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Source Sans Pro Light" panose="020B0403030403020204" pitchFamily="34" charset="0"/>
                <a:sym typeface="Neutraface Text Book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80345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pping Customers</a:t>
            </a:r>
            <a:r>
              <a:rPr lang="en-US" dirty="0" smtClean="0">
                <a:latin typeface="Source Sans Pro Semibold"/>
                <a:cs typeface="Source Sans Pro Semibold"/>
              </a:rPr>
              <a:t/>
            </a:r>
            <a:br>
              <a:rPr lang="en-US" dirty="0" smtClean="0">
                <a:latin typeface="Source Sans Pro Semibold"/>
                <a:cs typeface="Source Sans Pro Semibold"/>
              </a:rPr>
            </a:br>
            <a:r>
              <a:rPr lang="en-US" b="1" dirty="0" smtClean="0">
                <a:latin typeface="Source Sans Pro Semibold"/>
                <a:cs typeface="Source Sans Pro Semibold"/>
              </a:rPr>
              <a:t>Agenda</a:t>
            </a:r>
            <a:endParaRPr lang="en-US" b="1" dirty="0">
              <a:latin typeface="Source Sans Pro Semibold"/>
              <a:cs typeface="Source Sans Pro Semibold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9125" y="1564803"/>
            <a:ext cx="8667750" cy="4384477"/>
          </a:xfrm>
        </p:spPr>
        <p:txBody>
          <a:bodyPr/>
          <a:lstStyle/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>
                <a:sym typeface="Monotype Sorts"/>
              </a:rPr>
              <a:t>	</a:t>
            </a:r>
            <a:r>
              <a:rPr lang="en-US" dirty="0">
                <a:sym typeface="Monotype Sorts"/>
              </a:rPr>
              <a:t>  Research Question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>
                <a:latin typeface="Source Sans Pro Bold" panose="020B0703030403020204" pitchFamily="34" charset="0"/>
                <a:sym typeface="Monotype Sorts"/>
              </a:rPr>
              <a:t>	  </a:t>
            </a:r>
            <a:r>
              <a:rPr lang="en-US" dirty="0" smtClean="0">
                <a:latin typeface="Source Sans Pro Bold" panose="020B0703030403020204" pitchFamily="34" charset="0"/>
              </a:rPr>
              <a:t>Introduction to Mapping</a:t>
            </a:r>
            <a:endParaRPr lang="en-US" dirty="0">
              <a:latin typeface="Source Sans Pro Bold" panose="020B0703030403020204" pitchFamily="34" charset="0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  <a:tabLst>
                <a:tab pos="444450" algn="l"/>
              </a:tabLst>
            </a:pPr>
            <a:r>
              <a:rPr lang="en-US" dirty="0">
                <a:latin typeface="Source Sans Pro Bold" panose="020B0703030403020204" pitchFamily="34" charset="0"/>
                <a:sym typeface="Monotype Sorts"/>
              </a:rPr>
              <a:t>	</a:t>
            </a:r>
            <a:r>
              <a:rPr lang="en-US" dirty="0"/>
              <a:t>Data Screening &amp; Descriptives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  <a:tabLst>
                <a:tab pos="444450" algn="l"/>
              </a:tabLst>
            </a:pPr>
            <a:r>
              <a:rPr lang="en-US" dirty="0" smtClean="0"/>
              <a:t>§	</a:t>
            </a:r>
            <a:r>
              <a:rPr lang="en-US" dirty="0"/>
              <a:t>Implementation in R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  <a:tabLst>
                <a:tab pos="444450" algn="l"/>
              </a:tabLst>
            </a:pPr>
            <a:r>
              <a:rPr lang="en-US" dirty="0">
                <a:sym typeface="Monotype Sorts"/>
              </a:rPr>
              <a:t>	</a:t>
            </a:r>
            <a:r>
              <a:rPr lang="en-US" dirty="0" smtClean="0">
                <a:sym typeface="Monotype Sorts"/>
              </a:rPr>
              <a:t>Summary</a:t>
            </a:r>
            <a:endParaRPr lang="en-US" dirty="0">
              <a:sym typeface="Monotype Sorts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  <a:tabLst>
                <a:tab pos="444450" algn="l"/>
              </a:tabLst>
            </a:pPr>
            <a:r>
              <a:rPr lang="de-CH" dirty="0" smtClean="0">
                <a:latin typeface="Source Sans Pro Light" panose="020B0403030403020204" pitchFamily="34" charset="0"/>
              </a:rPr>
              <a:t>	References</a:t>
            </a:r>
            <a:endParaRPr lang="en-US" dirty="0" smtClean="0">
              <a:latin typeface="Source Sans Pro Light" panose="020B0403030403020204" pitchFamily="34" charset="0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  <a:tabLst>
                <a:tab pos="444450" algn="l"/>
              </a:tabLst>
            </a:pPr>
            <a:r>
              <a:rPr lang="en-US" dirty="0">
                <a:sym typeface="Monotype Sorts"/>
              </a:rPr>
              <a:t>	</a:t>
            </a:r>
            <a:endParaRPr lang="en-US" dirty="0"/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  <a:tabLst>
                <a:tab pos="444450" algn="l"/>
              </a:tabLst>
            </a:pPr>
            <a:endParaRPr lang="en-US" dirty="0" smtClean="0"/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  <a:tabLst>
                <a:tab pos="444450" algn="l"/>
              </a:tabLst>
            </a:pPr>
            <a:endParaRPr lang="en-US" dirty="0"/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  <a:tabLst>
                <a:tab pos="444450" algn="l"/>
              </a:tabLst>
            </a:pPr>
            <a:r>
              <a:rPr lang="en-US" sz="2200" dirty="0">
                <a:sym typeface="Monotype Sorts"/>
              </a:rPr>
              <a:t>	</a:t>
            </a:r>
            <a:endParaRPr lang="en-US" dirty="0"/>
          </a:p>
          <a:p>
            <a:pPr marL="0" indent="0">
              <a:spcAft>
                <a:spcPts val="1200"/>
              </a:spcAft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dirty="0" smtClean="0"/>
              <a:t> </a:t>
            </a:r>
            <a:endParaRPr lang="en-US" dirty="0"/>
          </a:p>
        </p:txBody>
      </p:sp>
      <p:sp>
        <p:nvSpPr>
          <p:cNvPr id="24" name="Rectangle 23"/>
          <p:cNvSpPr/>
          <p:nvPr/>
        </p:nvSpPr>
        <p:spPr bwMode="auto">
          <a:xfrm>
            <a:off x="0" y="2"/>
            <a:ext cx="256928" cy="1196975"/>
          </a:xfrm>
          <a:prstGeom prst="rect">
            <a:avLst/>
          </a:prstGeom>
          <a:solidFill>
            <a:schemeClr val="accent6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29" tIns="45715" rIns="91429" bIns="45715" numCol="1" rtlCol="0" anchor="t" anchorCtr="0" compatLnSpc="1">
            <a:prstTxWarp prst="textNoShape">
              <a:avLst/>
            </a:prstTxWarp>
          </a:bodyPr>
          <a:lstStyle/>
          <a:p>
            <a:pPr defTabSz="914296"/>
            <a:endParaRPr lang="en-US" sz="2300" dirty="0">
              <a:latin typeface="Source Sans Pro Light"/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CH" b="1" dirty="0" smtClean="0">
                <a:solidFill>
                  <a:schemeClr val="bg1"/>
                </a:solidFill>
              </a:rPr>
              <a:t>Outline</a:t>
            </a:r>
            <a:endParaRPr lang="de-CH" b="1" dirty="0">
              <a:solidFill>
                <a:schemeClr val="bg1"/>
              </a:solidFill>
            </a:endParaRPr>
          </a:p>
        </p:txBody>
      </p:sp>
      <p:sp>
        <p:nvSpPr>
          <p:cNvPr id="6" name="Ellipse 5"/>
          <p:cNvSpPr/>
          <p:nvPr/>
        </p:nvSpPr>
        <p:spPr bwMode="auto">
          <a:xfrm>
            <a:off x="619125" y="2115750"/>
            <a:ext cx="288000" cy="288000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600" b="1" i="0" u="none" strike="noStrike" normalizeH="0" baseline="0" dirty="0" smtClean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Source Sans Pro Light" panose="020B0403030403020204" pitchFamily="34" charset="0"/>
                <a:sym typeface="Neutraface Text Book" charset="0"/>
              </a:rPr>
              <a:t>2</a:t>
            </a:r>
            <a:endParaRPr kumimoji="0" lang="de-CH" sz="1600" b="1" i="0" u="none" strike="noStrike" normalizeH="0" baseline="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Source Sans Pro Light" panose="020B0403030403020204" pitchFamily="34" charset="0"/>
              <a:sym typeface="Neutraface Text Book" charset="0"/>
            </a:endParaRPr>
          </a:p>
        </p:txBody>
      </p:sp>
      <p:sp>
        <p:nvSpPr>
          <p:cNvPr id="11" name="Ellipse 10"/>
          <p:cNvSpPr/>
          <p:nvPr/>
        </p:nvSpPr>
        <p:spPr bwMode="auto">
          <a:xfrm>
            <a:off x="616810" y="1700808"/>
            <a:ext cx="288000" cy="288000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600" b="1" i="0" u="none" strike="noStrike" normalizeH="0" baseline="0" dirty="0" smtClean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Source Sans Pro Light" panose="020B0403030403020204" pitchFamily="34" charset="0"/>
                <a:sym typeface="Neutraface Text Book" charset="0"/>
              </a:rPr>
              <a:t>1</a:t>
            </a:r>
            <a:endParaRPr kumimoji="0" lang="de-CH" sz="1600" b="1" i="0" u="none" strike="noStrike" normalizeH="0" baseline="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Source Sans Pro Light" panose="020B0403030403020204" pitchFamily="34" charset="0"/>
              <a:sym typeface="Neutraface Text Book" charset="0"/>
            </a:endParaRPr>
          </a:p>
        </p:txBody>
      </p:sp>
      <p:sp>
        <p:nvSpPr>
          <p:cNvPr id="13" name="Ellipse 12"/>
          <p:cNvSpPr/>
          <p:nvPr/>
        </p:nvSpPr>
        <p:spPr bwMode="auto">
          <a:xfrm>
            <a:off x="619125" y="2945991"/>
            <a:ext cx="288000" cy="288000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600" b="1" i="0" u="none" strike="noStrike" normalizeH="0" baseline="0" dirty="0" smtClean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Source Sans Pro Light" panose="020B0403030403020204" pitchFamily="34" charset="0"/>
                <a:sym typeface="Neutraface Text Book" charset="0"/>
              </a:rPr>
              <a:t>4</a:t>
            </a:r>
            <a:endParaRPr kumimoji="0" lang="de-CH" sz="1600" b="1" i="0" u="none" strike="noStrike" normalizeH="0" baseline="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Source Sans Pro Light" panose="020B0403030403020204" pitchFamily="34" charset="0"/>
              <a:sym typeface="Neutraface Text Book" charset="0"/>
            </a:endParaRPr>
          </a:p>
        </p:txBody>
      </p:sp>
      <p:grpSp>
        <p:nvGrpSpPr>
          <p:cNvPr id="17" name="Gruppieren 16"/>
          <p:cNvGrpSpPr/>
          <p:nvPr/>
        </p:nvGrpSpPr>
        <p:grpSpPr>
          <a:xfrm>
            <a:off x="0" y="6598784"/>
            <a:ext cx="9914384" cy="260648"/>
            <a:chOff x="0" y="6598784"/>
            <a:chExt cx="9914384" cy="260648"/>
          </a:xfrm>
        </p:grpSpPr>
        <p:grpSp>
          <p:nvGrpSpPr>
            <p:cNvPr id="18" name="Gruppieren 17"/>
            <p:cNvGrpSpPr/>
            <p:nvPr/>
          </p:nvGrpSpPr>
          <p:grpSpPr>
            <a:xfrm>
              <a:off x="0" y="6598784"/>
              <a:ext cx="9914384" cy="260648"/>
              <a:chOff x="0" y="6598784"/>
              <a:chExt cx="9914384" cy="260648"/>
            </a:xfrm>
          </p:grpSpPr>
          <p:sp>
            <p:nvSpPr>
              <p:cNvPr id="21" name="Rectangle 7"/>
              <p:cNvSpPr/>
              <p:nvPr>
                <p:custDataLst>
                  <p:tags r:id="rId1"/>
                </p:custDataLst>
              </p:nvPr>
            </p:nvSpPr>
            <p:spPr bwMode="auto">
              <a:xfrm>
                <a:off x="0" y="6614991"/>
                <a:ext cx="5601072" cy="243009"/>
              </a:xfrm>
              <a:prstGeom prst="rect">
                <a:avLst/>
              </a:prstGeom>
              <a:solidFill>
                <a:schemeClr val="tx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29" tIns="0" rIns="91429" bIns="45715" numCol="1" rtlCol="0" anchor="t" anchorCtr="0" compatLnSpc="1">
                <a:prstTxWarp prst="textNoShape">
                  <a:avLst/>
                </a:prstTxWarp>
              </a:bodyPr>
              <a:lstStyle/>
              <a:p>
                <a:r>
                  <a:rPr lang="en-US" sz="1200" dirty="0" smtClean="0">
                    <a:solidFill>
                      <a:schemeClr val="bg1">
                        <a:lumMod val="75000"/>
                      </a:schemeClr>
                    </a:solidFill>
                    <a:latin typeface="Source Sans Pro Light" panose="020B0403030403020204" pitchFamily="34" charset="0"/>
                    <a:cs typeface="Source Sans Pro Light"/>
                  </a:rPr>
                  <a:t>Mapping Customers |       Introduction to Mapping</a:t>
                </a:r>
                <a:endParaRPr lang="en-US" sz="1200" dirty="0">
                  <a:solidFill>
                    <a:schemeClr val="bg1">
                      <a:lumMod val="75000"/>
                    </a:schemeClr>
                  </a:solidFill>
                  <a:latin typeface="Source Sans Pro Light" panose="020B0403030403020204" pitchFamily="34" charset="0"/>
                  <a:cs typeface="Source Sans Pro"/>
                </a:endParaRPr>
              </a:p>
            </p:txBody>
          </p:sp>
          <p:sp>
            <p:nvSpPr>
              <p:cNvPr id="20" name="Rectangle 7"/>
              <p:cNvSpPr/>
              <p:nvPr>
                <p:custDataLst>
                  <p:tags r:id="rId2"/>
                </p:custDataLst>
              </p:nvPr>
            </p:nvSpPr>
            <p:spPr bwMode="auto">
              <a:xfrm>
                <a:off x="5673080" y="6598784"/>
                <a:ext cx="4241304" cy="260648"/>
              </a:xfrm>
              <a:prstGeom prst="rect">
                <a:avLst/>
              </a:prstGeom>
              <a:solidFill>
                <a:schemeClr val="tx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29" tIns="0" rIns="91429" bIns="45715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r"/>
                <a:r>
                  <a:rPr lang="en-US" sz="1200" dirty="0" smtClean="0">
                    <a:solidFill>
                      <a:schemeClr val="bg1">
                        <a:lumMod val="75000"/>
                      </a:schemeClr>
                    </a:solidFill>
                    <a:latin typeface="Source Sans Pro Light" panose="020B0403030403020204" pitchFamily="34" charset="0"/>
                    <a:cs typeface="Source Sans Pro"/>
                    <a:sym typeface="Monotype Sorts"/>
                  </a:rPr>
                  <a:t>Salome </a:t>
                </a:r>
                <a:r>
                  <a:rPr lang="en-US" sz="1200" dirty="0">
                    <a:solidFill>
                      <a:schemeClr val="bg1">
                        <a:lumMod val="75000"/>
                      </a:schemeClr>
                    </a:solidFill>
                    <a:latin typeface="Source Sans Pro Light" panose="020B0403030403020204" pitchFamily="34" charset="0"/>
                    <a:cs typeface="Source Sans Pro"/>
                    <a:sym typeface="Monotype Sorts"/>
                  </a:rPr>
                  <a:t>Lang</a:t>
                </a:r>
              </a:p>
            </p:txBody>
          </p:sp>
        </p:grpSp>
        <p:sp>
          <p:nvSpPr>
            <p:cNvPr id="23" name="Ellipse 22"/>
            <p:cNvSpPr/>
            <p:nvPr/>
          </p:nvSpPr>
          <p:spPr bwMode="auto">
            <a:xfrm>
              <a:off x="1460624" y="6655292"/>
              <a:ext cx="108000" cy="108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CH" sz="850" b="1" i="0" u="none" strike="noStrike" normalizeH="0" baseline="0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Source Sans Pro Light" panose="020B0403030403020204" pitchFamily="34" charset="0"/>
                  <a:sym typeface="Neutraface Text Book" charset="0"/>
                </a:rPr>
                <a:t>2</a:t>
              </a:r>
              <a:endParaRPr kumimoji="0" lang="de-CH" sz="850" b="1" i="0" u="none" strike="noStrike" normalizeH="0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Source Sans Pro Light" panose="020B0403030403020204" pitchFamily="34" charset="0"/>
                <a:sym typeface="Neutraface Text Book" charset="0"/>
              </a:endParaRPr>
            </a:p>
          </p:txBody>
        </p:sp>
      </p:grpSp>
      <p:sp>
        <p:nvSpPr>
          <p:cNvPr id="22" name="Ellipse 21"/>
          <p:cNvSpPr/>
          <p:nvPr/>
        </p:nvSpPr>
        <p:spPr bwMode="auto">
          <a:xfrm>
            <a:off x="619125" y="2535971"/>
            <a:ext cx="288000" cy="288000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CH" sz="1600" b="1" dirty="0" smtClean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Source Sans Pro Light" panose="020B0403030403020204" pitchFamily="34" charset="0"/>
              </a:rPr>
              <a:t>3</a:t>
            </a:r>
            <a:endParaRPr kumimoji="0" lang="de-CH" sz="1600" b="1" i="0" u="none" strike="noStrike" normalizeH="0" baseline="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Source Sans Pro Light" panose="020B0403030403020204" pitchFamily="34" charset="0"/>
              <a:sym typeface="Neutraface Text Book" charset="0"/>
            </a:endParaRPr>
          </a:p>
        </p:txBody>
      </p:sp>
      <p:sp>
        <p:nvSpPr>
          <p:cNvPr id="37" name="Ellipse 36"/>
          <p:cNvSpPr/>
          <p:nvPr/>
        </p:nvSpPr>
        <p:spPr bwMode="auto">
          <a:xfrm>
            <a:off x="618904" y="3356992"/>
            <a:ext cx="288000" cy="288000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600" b="1" i="0" u="none" strike="noStrike" normalizeH="0" baseline="0" dirty="0" smtClean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Source Sans Pro Light" panose="020B0403030403020204" pitchFamily="34" charset="0"/>
                <a:sym typeface="Neutraface Text Book" charset="0"/>
              </a:rPr>
              <a:t>5</a:t>
            </a:r>
            <a:endParaRPr kumimoji="0" lang="de-CH" sz="1600" b="1" i="0" u="none" strike="noStrike" normalizeH="0" baseline="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Source Sans Pro Light" panose="020B0403030403020204" pitchFamily="34" charset="0"/>
              <a:sym typeface="Neutraface Text Book" charset="0"/>
            </a:endParaRPr>
          </a:p>
        </p:txBody>
      </p:sp>
      <p:sp>
        <p:nvSpPr>
          <p:cNvPr id="19" name="Ellipse 18"/>
          <p:cNvSpPr/>
          <p:nvPr/>
        </p:nvSpPr>
        <p:spPr bwMode="auto">
          <a:xfrm>
            <a:off x="618872" y="3777213"/>
            <a:ext cx="288000" cy="288000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CH" sz="1600" b="1" dirty="0" smtClean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Source Sans Pro Light" panose="020B0403030403020204" pitchFamily="34" charset="0"/>
              </a:rPr>
              <a:t>6</a:t>
            </a:r>
            <a:endParaRPr kumimoji="0" lang="de-CH" sz="1600" b="1" i="0" u="none" strike="noStrike" normalizeH="0" baseline="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Source Sans Pro Light" panose="020B0403030403020204" pitchFamily="34" charset="0"/>
              <a:sym typeface="Neutraface Text Boo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9321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Imagine you </a:t>
            </a:r>
            <a:r>
              <a:rPr lang="en-GB" dirty="0"/>
              <a:t>consulted </a:t>
            </a:r>
            <a:r>
              <a:rPr lang="en-GB" dirty="0" smtClean="0"/>
              <a:t>a retail firm…</a:t>
            </a:r>
            <a:endParaRPr lang="en-GB" dirty="0"/>
          </a:p>
        </p:txBody>
      </p:sp>
      <p:sp>
        <p:nvSpPr>
          <p:cNvPr id="8" name="Inhaltsplatzhalt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>
                <a:latin typeface="Source Sans Pro" panose="020B0604020202020204" charset="0"/>
                <a:cs typeface="Source Sans Pro" panose="020B0604020202020204" charset="0"/>
              </a:rPr>
              <a:t>Empirical studies suggest that </a:t>
            </a:r>
            <a:r>
              <a:rPr lang="en-GB" b="1" dirty="0" smtClean="0">
                <a:latin typeface="Source Sans Pro" panose="020B0604020202020204" charset="0"/>
                <a:cs typeface="Source Sans Pro" panose="020B0604020202020204" charset="0"/>
              </a:rPr>
              <a:t>advertising in retail stores is more successful if tailored to the local environment</a:t>
            </a:r>
            <a:r>
              <a:rPr lang="en-GB" dirty="0" smtClean="0">
                <a:latin typeface="Source Sans Pro" panose="020B0604020202020204" charset="0"/>
                <a:cs typeface="Source Sans Pro" panose="020B0604020202020204" charset="0"/>
              </a:rPr>
              <a:t> because location characteristics affect</a:t>
            </a:r>
          </a:p>
          <a:p>
            <a:pPr lvl="1"/>
            <a:r>
              <a:rPr lang="en-GB" dirty="0" smtClean="0">
                <a:latin typeface="Source Sans Pro" panose="020B0604020202020204" charset="0"/>
                <a:cs typeface="Source Sans Pro" panose="020B0604020202020204" charset="0"/>
              </a:rPr>
              <a:t>The attractiveness of certain product categories</a:t>
            </a:r>
          </a:p>
          <a:p>
            <a:pPr lvl="1"/>
            <a:r>
              <a:rPr lang="en-GB" dirty="0" smtClean="0">
                <a:latin typeface="Source Sans Pro" panose="020B0604020202020204" charset="0"/>
                <a:cs typeface="Source Sans Pro" panose="020B0604020202020204" charset="0"/>
              </a:rPr>
              <a:t>Customers’ reaction to store flyers and advertised deals</a:t>
            </a:r>
          </a:p>
          <a:p>
            <a:r>
              <a:rPr lang="en-GB" dirty="0" smtClean="0">
                <a:latin typeface="Source Sans Pro" panose="020B0604020202020204" charset="0"/>
                <a:cs typeface="Source Sans Pro" panose="020B0604020202020204" charset="0"/>
              </a:rPr>
              <a:t>Relevant environmental variables are in particular</a:t>
            </a:r>
          </a:p>
          <a:p>
            <a:pPr lvl="1"/>
            <a:r>
              <a:rPr lang="en-GB" dirty="0" smtClean="0">
                <a:latin typeface="Source Sans Pro" panose="020B0604020202020204" charset="0"/>
                <a:cs typeface="Source Sans Pro" panose="020B0604020202020204" charset="0"/>
              </a:rPr>
              <a:t> </a:t>
            </a:r>
            <a:r>
              <a:rPr lang="en-GB" b="1" dirty="0" smtClean="0">
                <a:latin typeface="Source Sans Pro" panose="020B0604020202020204" charset="0"/>
                <a:cs typeface="Source Sans Pro" panose="020B0604020202020204" charset="0"/>
              </a:rPr>
              <a:t>Socio-demographics</a:t>
            </a:r>
            <a:r>
              <a:rPr lang="en-GB" dirty="0" smtClean="0">
                <a:latin typeface="Source Sans Pro" panose="020B0604020202020204" charset="0"/>
                <a:cs typeface="Source Sans Pro" panose="020B0604020202020204" charset="0"/>
              </a:rPr>
              <a:t> of the inhabitants of the store’s trading area</a:t>
            </a:r>
          </a:p>
          <a:p>
            <a:pPr lvl="1"/>
            <a:r>
              <a:rPr lang="en-GB" dirty="0" smtClean="0">
                <a:latin typeface="Source Sans Pro" panose="020B0604020202020204" charset="0"/>
                <a:cs typeface="Source Sans Pro" panose="020B0604020202020204" charset="0"/>
              </a:rPr>
              <a:t>Nature and intensity of </a:t>
            </a:r>
            <a:r>
              <a:rPr lang="en-GB" b="1" dirty="0" smtClean="0">
                <a:latin typeface="Source Sans Pro" panose="020B0604020202020204" charset="0"/>
                <a:cs typeface="Source Sans Pro" panose="020B0604020202020204" charset="0"/>
              </a:rPr>
              <a:t>local competitio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b="1" dirty="0" smtClean="0">
                <a:solidFill>
                  <a:schemeClr val="bg1"/>
                </a:solidFill>
              </a:rPr>
              <a:t>Theory</a:t>
            </a: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45512" y="5775125"/>
            <a:ext cx="8999976" cy="723275"/>
          </a:xfrm>
        </p:spPr>
        <p:txBody>
          <a:bodyPr/>
          <a:lstStyle/>
          <a:p>
            <a:pPr algn="r"/>
            <a:r>
              <a:rPr lang="en-US" dirty="0" err="1" smtClean="0">
                <a:solidFill>
                  <a:schemeClr val="bg2"/>
                </a:solidFill>
                <a:sym typeface="Wingdings" pitchFamily="2" charset="2"/>
              </a:rPr>
              <a:t>Gijsbrechts</a:t>
            </a:r>
            <a:r>
              <a:rPr lang="en-US" dirty="0" smtClean="0">
                <a:solidFill>
                  <a:schemeClr val="bg2"/>
                </a:solidFill>
                <a:sym typeface="Wingdings" pitchFamily="2" charset="2"/>
              </a:rPr>
              <a:t> et al. </a:t>
            </a:r>
            <a:r>
              <a:rPr lang="en-US" dirty="0">
                <a:solidFill>
                  <a:schemeClr val="bg2"/>
                </a:solidFill>
                <a:sym typeface="Wingdings" pitchFamily="2" charset="2"/>
              </a:rPr>
              <a:t>(</a:t>
            </a:r>
            <a:r>
              <a:rPr lang="en-US" dirty="0" smtClean="0">
                <a:solidFill>
                  <a:schemeClr val="bg2"/>
                </a:solidFill>
                <a:sym typeface="Wingdings" pitchFamily="2" charset="2"/>
              </a:rPr>
              <a:t>2003)</a:t>
            </a:r>
          </a:p>
          <a:p>
            <a:pPr algn="r"/>
            <a:r>
              <a:rPr lang="en-US" dirty="0" smtClean="0">
                <a:solidFill>
                  <a:schemeClr val="bg2"/>
                </a:solidFill>
                <a:sym typeface="Wingdings" pitchFamily="2" charset="2"/>
              </a:rPr>
              <a:t>Campo et al. (2000)</a:t>
            </a:r>
            <a:endParaRPr lang="en-US" dirty="0">
              <a:solidFill>
                <a:schemeClr val="bg2"/>
              </a:solidFill>
            </a:endParaRPr>
          </a:p>
        </p:txBody>
      </p:sp>
      <p:grpSp>
        <p:nvGrpSpPr>
          <p:cNvPr id="15" name="Gruppieren 14"/>
          <p:cNvGrpSpPr/>
          <p:nvPr/>
        </p:nvGrpSpPr>
        <p:grpSpPr>
          <a:xfrm>
            <a:off x="0" y="6598784"/>
            <a:ext cx="9914384" cy="260648"/>
            <a:chOff x="0" y="6598784"/>
            <a:chExt cx="9914384" cy="260648"/>
          </a:xfrm>
        </p:grpSpPr>
        <p:grpSp>
          <p:nvGrpSpPr>
            <p:cNvPr id="16" name="Gruppieren 15"/>
            <p:cNvGrpSpPr/>
            <p:nvPr/>
          </p:nvGrpSpPr>
          <p:grpSpPr>
            <a:xfrm>
              <a:off x="0" y="6598784"/>
              <a:ext cx="9914384" cy="260648"/>
              <a:chOff x="0" y="6598784"/>
              <a:chExt cx="9914384" cy="260648"/>
            </a:xfrm>
          </p:grpSpPr>
          <p:sp>
            <p:nvSpPr>
              <p:cNvPr id="18" name="Rectangle 7"/>
              <p:cNvSpPr/>
              <p:nvPr>
                <p:custDataLst>
                  <p:tags r:id="rId1"/>
                </p:custDataLst>
              </p:nvPr>
            </p:nvSpPr>
            <p:spPr bwMode="auto">
              <a:xfrm>
                <a:off x="0" y="6614991"/>
                <a:ext cx="5601072" cy="243009"/>
              </a:xfrm>
              <a:prstGeom prst="rect">
                <a:avLst/>
              </a:prstGeom>
              <a:solidFill>
                <a:schemeClr val="tx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29" tIns="0" rIns="91429" bIns="45715" numCol="1" rtlCol="0" anchor="t" anchorCtr="0" compatLnSpc="1">
                <a:prstTxWarp prst="textNoShape">
                  <a:avLst/>
                </a:prstTxWarp>
              </a:bodyPr>
              <a:lstStyle/>
              <a:p>
                <a:r>
                  <a:rPr lang="en-US" sz="1200" dirty="0" smtClean="0">
                    <a:solidFill>
                      <a:schemeClr val="bg1">
                        <a:lumMod val="75000"/>
                      </a:schemeClr>
                    </a:solidFill>
                    <a:latin typeface="Source Sans Pro Light" panose="020B0403030403020204" pitchFamily="34" charset="0"/>
                    <a:cs typeface="Source Sans Pro Light"/>
                  </a:rPr>
                  <a:t>Mapping Customers |       Introduction to Mapping</a:t>
                </a:r>
                <a:endParaRPr lang="en-US" sz="1200" dirty="0">
                  <a:solidFill>
                    <a:schemeClr val="bg1">
                      <a:lumMod val="75000"/>
                    </a:schemeClr>
                  </a:solidFill>
                  <a:latin typeface="Source Sans Pro Light" panose="020B0403030403020204" pitchFamily="34" charset="0"/>
                  <a:cs typeface="Source Sans Pro"/>
                </a:endParaRPr>
              </a:p>
            </p:txBody>
          </p:sp>
          <p:sp>
            <p:nvSpPr>
              <p:cNvPr id="19" name="Rectangle 7"/>
              <p:cNvSpPr/>
              <p:nvPr>
                <p:custDataLst>
                  <p:tags r:id="rId2"/>
                </p:custDataLst>
              </p:nvPr>
            </p:nvSpPr>
            <p:spPr bwMode="auto">
              <a:xfrm>
                <a:off x="5673080" y="6598784"/>
                <a:ext cx="4241304" cy="260648"/>
              </a:xfrm>
              <a:prstGeom prst="rect">
                <a:avLst/>
              </a:prstGeom>
              <a:solidFill>
                <a:schemeClr val="tx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29" tIns="0" rIns="91429" bIns="45715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r"/>
                <a:r>
                  <a:rPr lang="en-US" sz="1200" dirty="0" smtClean="0">
                    <a:solidFill>
                      <a:schemeClr val="bg1">
                        <a:lumMod val="75000"/>
                      </a:schemeClr>
                    </a:solidFill>
                    <a:latin typeface="Source Sans Pro Light" panose="020B0403030403020204" pitchFamily="34" charset="0"/>
                    <a:cs typeface="Source Sans Pro"/>
                    <a:sym typeface="Monotype Sorts"/>
                  </a:rPr>
                  <a:t>Salome </a:t>
                </a:r>
                <a:r>
                  <a:rPr lang="en-US" sz="1200" dirty="0">
                    <a:solidFill>
                      <a:schemeClr val="bg1">
                        <a:lumMod val="75000"/>
                      </a:schemeClr>
                    </a:solidFill>
                    <a:latin typeface="Source Sans Pro Light" panose="020B0403030403020204" pitchFamily="34" charset="0"/>
                    <a:cs typeface="Source Sans Pro"/>
                    <a:sym typeface="Monotype Sorts"/>
                  </a:rPr>
                  <a:t>Lang</a:t>
                </a:r>
              </a:p>
            </p:txBody>
          </p:sp>
        </p:grpSp>
        <p:sp>
          <p:nvSpPr>
            <p:cNvPr id="17" name="Ellipse 16"/>
            <p:cNvSpPr/>
            <p:nvPr/>
          </p:nvSpPr>
          <p:spPr bwMode="auto">
            <a:xfrm>
              <a:off x="1460624" y="6655292"/>
              <a:ext cx="108000" cy="108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CH" sz="850" b="1" i="0" u="none" strike="noStrike" normalizeH="0" baseline="0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Source Sans Pro Light" panose="020B0403030403020204" pitchFamily="34" charset="0"/>
                  <a:sym typeface="Neutraface Text Book" charset="0"/>
                </a:rPr>
                <a:t>2</a:t>
              </a:r>
              <a:endParaRPr kumimoji="0" lang="de-CH" sz="850" b="1" i="0" u="none" strike="noStrike" normalizeH="0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Source Sans Pro Light" panose="020B0403030403020204" pitchFamily="34" charset="0"/>
                <a:sym typeface="Neutraface Text Book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0047124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… you would like to draw an informative map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 smtClean="0"/>
          </a:p>
          <a:p>
            <a:endParaRPr lang="en-GB" dirty="0"/>
          </a:p>
          <a:p>
            <a:endParaRPr lang="en-GB" dirty="0" smtClean="0"/>
          </a:p>
          <a:p>
            <a:pPr marL="0" indent="0">
              <a:buNone/>
            </a:pPr>
            <a:r>
              <a:rPr lang="en-GB" dirty="0" smtClean="0"/>
              <a:t>Then you should avoid </a:t>
            </a:r>
            <a:r>
              <a:rPr lang="en-GB" dirty="0" smtClean="0">
                <a:latin typeface="Source Sans Pro Bold" panose="020B0604020202020204" charset="0"/>
                <a:cs typeface="Source Sans Pro Bold" panose="020B0604020202020204" charset="0"/>
              </a:rPr>
              <a:t>two major pitfalls </a:t>
            </a:r>
            <a:r>
              <a:rPr lang="en-GB" dirty="0" smtClean="0"/>
              <a:t>in drawing thematic maps:</a:t>
            </a:r>
          </a:p>
          <a:p>
            <a:r>
              <a:rPr lang="en-GB" dirty="0" smtClean="0">
                <a:latin typeface="Source Sans Pro Light" panose="020B0604020202020204" charset="0"/>
                <a:cs typeface="Source Sans Pro Light" panose="020B0604020202020204" charset="0"/>
              </a:rPr>
              <a:t> </a:t>
            </a:r>
            <a:r>
              <a:rPr lang="en-GB" dirty="0" smtClean="0">
                <a:latin typeface="Source Sans Pro Bold" panose="020B0604020202020204" charset="0"/>
                <a:cs typeface="Source Sans Pro Bold" panose="020B0604020202020204" charset="0"/>
              </a:rPr>
              <a:t>Maps are not a shortcut </a:t>
            </a:r>
            <a:r>
              <a:rPr lang="en-GB" dirty="0" smtClean="0"/>
              <a:t>in your data screening process</a:t>
            </a:r>
          </a:p>
          <a:p>
            <a:r>
              <a:rPr lang="en-GB" dirty="0" smtClean="0"/>
              <a:t>Make sure your map </a:t>
            </a:r>
            <a:r>
              <a:rPr lang="en-GB" dirty="0" smtClean="0">
                <a:latin typeface="Source Sans Pro Bold" panose="020B0604020202020204" charset="0"/>
                <a:cs typeface="Source Sans Pro Bold" panose="020B0604020202020204" charset="0"/>
              </a:rPr>
              <a:t>answers the right question</a:t>
            </a:r>
            <a:endParaRPr lang="en-GB" dirty="0" smtClean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b="1" dirty="0" smtClean="0">
                <a:solidFill>
                  <a:schemeClr val="bg1"/>
                </a:solidFill>
              </a:rPr>
              <a:t>Goal</a:t>
            </a:r>
            <a:endParaRPr lang="en-GB" b="1" dirty="0">
              <a:solidFill>
                <a:schemeClr val="bg1"/>
              </a:solidFill>
            </a:endParaRPr>
          </a:p>
        </p:txBody>
      </p:sp>
      <p:graphicFrame>
        <p:nvGraphicFramePr>
          <p:cNvPr id="6" name="Table 7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996219"/>
              </p:ext>
            </p:extLst>
          </p:nvPr>
        </p:nvGraphicFramePr>
        <p:xfrm>
          <a:off x="632520" y="1556792"/>
          <a:ext cx="8641654" cy="1188720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223520"/>
                <a:gridCol w="6380008"/>
                <a:gridCol w="2038126"/>
              </a:tblGrid>
              <a:tr h="0">
                <a:tc>
                  <a:txBody>
                    <a:bodyPr/>
                    <a:lstStyle/>
                    <a:p>
                      <a:pPr marL="0" algn="ctr" defTabSz="336774" rtl="0" eaLnBrk="1" latinLnBrk="0" hangingPunct="1"/>
                      <a:endParaRPr lang="en-US" sz="1200" b="0" kern="1200" noProof="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9060" marR="9906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noProof="0" dirty="0" smtClean="0"/>
                    </a:p>
                  </a:txBody>
                  <a:tcPr marL="99060" marR="9906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i="0" noProof="0" dirty="0" smtClean="0">
                          <a:latin typeface="Source Sans Pro Light"/>
                          <a:cs typeface="Source Sans Pro Light"/>
                        </a:rPr>
                        <a:t>Goal</a:t>
                      </a:r>
                      <a:endParaRPr lang="en-US" sz="1200" i="0" noProof="0" dirty="0">
                        <a:latin typeface="Source Sans Pro Light"/>
                        <a:cs typeface="Source Sans Pro Light"/>
                      </a:endParaRPr>
                    </a:p>
                  </a:txBody>
                  <a:tcPr marL="99060" marR="9906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</a:tr>
              <a:tr h="331756">
                <a:tc>
                  <a:txBody>
                    <a:bodyPr/>
                    <a:lstStyle/>
                    <a:p>
                      <a:pPr algn="ctr"/>
                      <a:endParaRPr lang="en-US" sz="1200" noProof="0" dirty="0" smtClean="0">
                        <a:solidFill>
                          <a:srgbClr val="00B0F0"/>
                        </a:solidFill>
                        <a:latin typeface="Courier New" pitchFamily="49" charset="0"/>
                        <a:cs typeface="Courier New" pitchFamily="49" charset="0"/>
                      </a:endParaRPr>
                    </a:p>
                  </a:txBody>
                  <a:tcPr marL="99060" marR="9906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indent="0" algn="l" defTabSz="336736" rtl="0" eaLnBrk="1" fontAlgn="t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GB" sz="1800" b="0" i="0" baseline="0" noProof="0" dirty="0" smtClean="0">
                          <a:solidFill>
                            <a:srgbClr val="271F2E"/>
                          </a:solidFill>
                          <a:latin typeface="Source Sans Pro Light" panose="020B0604020202020204" charset="0"/>
                          <a:ea typeface="+mn-ea"/>
                          <a:cs typeface="Source Sans Pro Light" panose="020B0604020202020204" charset="0"/>
                          <a:sym typeface="Neutraface Text Book" charset="0"/>
                        </a:rPr>
                        <a:t>To advertise more successfully, you want to provide a thematic map that facilitates decision making for the retailer.</a:t>
                      </a:r>
                    </a:p>
                  </a:txBody>
                  <a:tcPr marL="99060" marR="9906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  <p:grpSp>
        <p:nvGrpSpPr>
          <p:cNvPr id="12" name="Gruppieren 11"/>
          <p:cNvGrpSpPr/>
          <p:nvPr/>
        </p:nvGrpSpPr>
        <p:grpSpPr>
          <a:xfrm>
            <a:off x="0" y="6598784"/>
            <a:ext cx="9914384" cy="260648"/>
            <a:chOff x="0" y="6598784"/>
            <a:chExt cx="9914384" cy="260648"/>
          </a:xfrm>
        </p:grpSpPr>
        <p:grpSp>
          <p:nvGrpSpPr>
            <p:cNvPr id="13" name="Gruppieren 12"/>
            <p:cNvGrpSpPr/>
            <p:nvPr/>
          </p:nvGrpSpPr>
          <p:grpSpPr>
            <a:xfrm>
              <a:off x="0" y="6598784"/>
              <a:ext cx="9914384" cy="260648"/>
              <a:chOff x="0" y="6598784"/>
              <a:chExt cx="9914384" cy="260648"/>
            </a:xfrm>
          </p:grpSpPr>
          <p:sp>
            <p:nvSpPr>
              <p:cNvPr id="15" name="Rectangle 7"/>
              <p:cNvSpPr/>
              <p:nvPr>
                <p:custDataLst>
                  <p:tags r:id="rId2"/>
                </p:custDataLst>
              </p:nvPr>
            </p:nvSpPr>
            <p:spPr bwMode="auto">
              <a:xfrm>
                <a:off x="0" y="6614991"/>
                <a:ext cx="5601072" cy="243009"/>
              </a:xfrm>
              <a:prstGeom prst="rect">
                <a:avLst/>
              </a:prstGeom>
              <a:solidFill>
                <a:schemeClr val="tx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29" tIns="0" rIns="91429" bIns="45715" numCol="1" rtlCol="0" anchor="t" anchorCtr="0" compatLnSpc="1">
                <a:prstTxWarp prst="textNoShape">
                  <a:avLst/>
                </a:prstTxWarp>
              </a:bodyPr>
              <a:lstStyle/>
              <a:p>
                <a:r>
                  <a:rPr lang="en-US" sz="1200" dirty="0" smtClean="0">
                    <a:solidFill>
                      <a:schemeClr val="bg1">
                        <a:lumMod val="75000"/>
                      </a:schemeClr>
                    </a:solidFill>
                    <a:latin typeface="Source Sans Pro Light" panose="020B0403030403020204" pitchFamily="34" charset="0"/>
                    <a:cs typeface="Source Sans Pro Light"/>
                  </a:rPr>
                  <a:t>Mapping Customers |       Introduction to Mapping</a:t>
                </a:r>
                <a:endParaRPr lang="en-US" sz="1200" dirty="0">
                  <a:solidFill>
                    <a:schemeClr val="bg1">
                      <a:lumMod val="75000"/>
                    </a:schemeClr>
                  </a:solidFill>
                  <a:latin typeface="Source Sans Pro Light" panose="020B0403030403020204" pitchFamily="34" charset="0"/>
                  <a:cs typeface="Source Sans Pro"/>
                </a:endParaRPr>
              </a:p>
            </p:txBody>
          </p:sp>
          <p:sp>
            <p:nvSpPr>
              <p:cNvPr id="16" name="Rectangle 7"/>
              <p:cNvSpPr/>
              <p:nvPr>
                <p:custDataLst>
                  <p:tags r:id="rId3"/>
                </p:custDataLst>
              </p:nvPr>
            </p:nvSpPr>
            <p:spPr bwMode="auto">
              <a:xfrm>
                <a:off x="5673080" y="6598784"/>
                <a:ext cx="4241304" cy="260648"/>
              </a:xfrm>
              <a:prstGeom prst="rect">
                <a:avLst/>
              </a:prstGeom>
              <a:solidFill>
                <a:schemeClr val="tx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29" tIns="0" rIns="91429" bIns="45715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r"/>
                <a:r>
                  <a:rPr lang="en-US" sz="1200" dirty="0" smtClean="0">
                    <a:solidFill>
                      <a:schemeClr val="bg1">
                        <a:lumMod val="75000"/>
                      </a:schemeClr>
                    </a:solidFill>
                    <a:latin typeface="Source Sans Pro Light" panose="020B0403030403020204" pitchFamily="34" charset="0"/>
                    <a:cs typeface="Source Sans Pro"/>
                    <a:sym typeface="Monotype Sorts"/>
                  </a:rPr>
                  <a:t>Salome </a:t>
                </a:r>
                <a:r>
                  <a:rPr lang="en-US" sz="1200" dirty="0">
                    <a:solidFill>
                      <a:schemeClr val="bg1">
                        <a:lumMod val="75000"/>
                      </a:schemeClr>
                    </a:solidFill>
                    <a:latin typeface="Source Sans Pro Light" panose="020B0403030403020204" pitchFamily="34" charset="0"/>
                    <a:cs typeface="Source Sans Pro"/>
                    <a:sym typeface="Monotype Sorts"/>
                  </a:rPr>
                  <a:t>Lang</a:t>
                </a:r>
              </a:p>
            </p:txBody>
          </p:sp>
        </p:grpSp>
        <p:sp>
          <p:nvSpPr>
            <p:cNvPr id="14" name="Ellipse 13"/>
            <p:cNvSpPr/>
            <p:nvPr/>
          </p:nvSpPr>
          <p:spPr bwMode="auto">
            <a:xfrm>
              <a:off x="1460624" y="6655292"/>
              <a:ext cx="108000" cy="108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CH" sz="850" b="1" i="0" u="none" strike="noStrike" normalizeH="0" baseline="0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Source Sans Pro Light" panose="020B0403030403020204" pitchFamily="34" charset="0"/>
                  <a:sym typeface="Neutraface Text Book" charset="0"/>
                </a:rPr>
                <a:t>2</a:t>
              </a:r>
              <a:endParaRPr kumimoji="0" lang="de-CH" sz="850" b="1" i="0" u="none" strike="noStrike" normalizeH="0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Source Sans Pro Light" panose="020B0403030403020204" pitchFamily="34" charset="0"/>
                <a:sym typeface="Neutraface Text Book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22607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Visualizing data on a map is only the cherry on the cake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Mapping attributes of </a:t>
            </a:r>
            <a:r>
              <a:rPr lang="en-GB" dirty="0"/>
              <a:t>spatial </a:t>
            </a:r>
            <a:r>
              <a:rPr lang="en-GB" dirty="0" smtClean="0"/>
              <a:t>objects in R is a rather involved task</a:t>
            </a:r>
          </a:p>
          <a:p>
            <a:r>
              <a:rPr lang="en-GB" dirty="0" smtClean="0"/>
              <a:t>Therefore, it is even more important for your to </a:t>
            </a:r>
            <a:r>
              <a:rPr lang="en-GB" dirty="0" smtClean="0">
                <a:latin typeface="Source Sans Pro Bold" panose="020B0604020202020204" charset="0"/>
              </a:rPr>
              <a:t>know what the map should show you before you draw it</a:t>
            </a:r>
            <a:r>
              <a:rPr lang="en-GB" dirty="0" smtClean="0"/>
              <a:t>, i.e.</a:t>
            </a:r>
          </a:p>
          <a:p>
            <a:pPr lvl="1"/>
            <a:r>
              <a:rPr lang="en-GB" dirty="0" smtClean="0"/>
              <a:t>Get to </a:t>
            </a:r>
            <a:r>
              <a:rPr lang="en-GB" dirty="0" smtClean="0">
                <a:latin typeface="Source Sans Pro Bold" panose="020B0604020202020204" charset="0"/>
                <a:cs typeface="Source Sans Pro Bold" panose="020B0604020202020204" charset="0"/>
              </a:rPr>
              <a:t>know your data </a:t>
            </a:r>
            <a:r>
              <a:rPr lang="en-GB" dirty="0" smtClean="0"/>
              <a:t>by screening it carefully</a:t>
            </a:r>
          </a:p>
          <a:p>
            <a:pPr lvl="1"/>
            <a:r>
              <a:rPr lang="en-GB" dirty="0" smtClean="0"/>
              <a:t>Get </a:t>
            </a:r>
            <a:r>
              <a:rPr lang="en-GB" dirty="0" smtClean="0">
                <a:latin typeface="Source Sans Pro Bold" panose="020B0604020202020204" charset="0"/>
                <a:cs typeface="Source Sans Pro Bold" panose="020B0604020202020204" charset="0"/>
              </a:rPr>
              <a:t>simple descriptives</a:t>
            </a:r>
            <a:r>
              <a:rPr lang="en-GB" dirty="0"/>
              <a:t>, such as histograms, </a:t>
            </a:r>
            <a:r>
              <a:rPr lang="en-GB" dirty="0" smtClean="0"/>
              <a:t>of your variables of interest before you plot the map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b="1" dirty="0" smtClean="0">
                <a:solidFill>
                  <a:schemeClr val="bg1"/>
                </a:solidFill>
              </a:rPr>
              <a:t>Pitfall I</a:t>
            </a:r>
            <a:endParaRPr lang="en-GB" b="1" dirty="0">
              <a:solidFill>
                <a:schemeClr val="bg1"/>
              </a:solidFill>
            </a:endParaRPr>
          </a:p>
        </p:txBody>
      </p:sp>
      <p:grpSp>
        <p:nvGrpSpPr>
          <p:cNvPr id="11" name="Gruppieren 10"/>
          <p:cNvGrpSpPr/>
          <p:nvPr/>
        </p:nvGrpSpPr>
        <p:grpSpPr>
          <a:xfrm>
            <a:off x="0" y="6598784"/>
            <a:ext cx="9914384" cy="260648"/>
            <a:chOff x="0" y="6598784"/>
            <a:chExt cx="9914384" cy="260648"/>
          </a:xfrm>
        </p:grpSpPr>
        <p:grpSp>
          <p:nvGrpSpPr>
            <p:cNvPr id="12" name="Gruppieren 11"/>
            <p:cNvGrpSpPr/>
            <p:nvPr/>
          </p:nvGrpSpPr>
          <p:grpSpPr>
            <a:xfrm>
              <a:off x="0" y="6598784"/>
              <a:ext cx="9914384" cy="260648"/>
              <a:chOff x="0" y="6598784"/>
              <a:chExt cx="9914384" cy="260648"/>
            </a:xfrm>
          </p:grpSpPr>
          <p:sp>
            <p:nvSpPr>
              <p:cNvPr id="14" name="Rectangle 7"/>
              <p:cNvSpPr/>
              <p:nvPr>
                <p:custDataLst>
                  <p:tags r:id="rId1"/>
                </p:custDataLst>
              </p:nvPr>
            </p:nvSpPr>
            <p:spPr bwMode="auto">
              <a:xfrm>
                <a:off x="0" y="6614991"/>
                <a:ext cx="5601072" cy="243009"/>
              </a:xfrm>
              <a:prstGeom prst="rect">
                <a:avLst/>
              </a:prstGeom>
              <a:solidFill>
                <a:schemeClr val="tx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29" tIns="0" rIns="91429" bIns="45715" numCol="1" rtlCol="0" anchor="t" anchorCtr="0" compatLnSpc="1">
                <a:prstTxWarp prst="textNoShape">
                  <a:avLst/>
                </a:prstTxWarp>
              </a:bodyPr>
              <a:lstStyle/>
              <a:p>
                <a:r>
                  <a:rPr lang="en-US" sz="1200" dirty="0" smtClean="0">
                    <a:solidFill>
                      <a:schemeClr val="bg1">
                        <a:lumMod val="75000"/>
                      </a:schemeClr>
                    </a:solidFill>
                    <a:latin typeface="Source Sans Pro Light" panose="020B0403030403020204" pitchFamily="34" charset="0"/>
                    <a:cs typeface="Source Sans Pro Light"/>
                  </a:rPr>
                  <a:t>Mapping Customers |       Introduction to Mapping</a:t>
                </a:r>
                <a:endParaRPr lang="en-US" sz="1200" dirty="0">
                  <a:solidFill>
                    <a:schemeClr val="bg1">
                      <a:lumMod val="75000"/>
                    </a:schemeClr>
                  </a:solidFill>
                  <a:latin typeface="Source Sans Pro Light" panose="020B0403030403020204" pitchFamily="34" charset="0"/>
                  <a:cs typeface="Source Sans Pro"/>
                </a:endParaRPr>
              </a:p>
            </p:txBody>
          </p:sp>
          <p:sp>
            <p:nvSpPr>
              <p:cNvPr id="15" name="Rectangle 7"/>
              <p:cNvSpPr/>
              <p:nvPr>
                <p:custDataLst>
                  <p:tags r:id="rId2"/>
                </p:custDataLst>
              </p:nvPr>
            </p:nvSpPr>
            <p:spPr bwMode="auto">
              <a:xfrm>
                <a:off x="5673080" y="6598784"/>
                <a:ext cx="4241304" cy="260648"/>
              </a:xfrm>
              <a:prstGeom prst="rect">
                <a:avLst/>
              </a:prstGeom>
              <a:solidFill>
                <a:schemeClr val="tx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29" tIns="0" rIns="91429" bIns="45715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r"/>
                <a:r>
                  <a:rPr lang="en-US" sz="1200" dirty="0" smtClean="0">
                    <a:solidFill>
                      <a:schemeClr val="bg1">
                        <a:lumMod val="75000"/>
                      </a:schemeClr>
                    </a:solidFill>
                    <a:latin typeface="Source Sans Pro Light" panose="020B0403030403020204" pitchFamily="34" charset="0"/>
                    <a:cs typeface="Source Sans Pro"/>
                    <a:sym typeface="Monotype Sorts"/>
                  </a:rPr>
                  <a:t>Salome </a:t>
                </a:r>
                <a:r>
                  <a:rPr lang="en-US" sz="1200" dirty="0">
                    <a:solidFill>
                      <a:schemeClr val="bg1">
                        <a:lumMod val="75000"/>
                      </a:schemeClr>
                    </a:solidFill>
                    <a:latin typeface="Source Sans Pro Light" panose="020B0403030403020204" pitchFamily="34" charset="0"/>
                    <a:cs typeface="Source Sans Pro"/>
                    <a:sym typeface="Monotype Sorts"/>
                  </a:rPr>
                  <a:t>Lang</a:t>
                </a:r>
              </a:p>
            </p:txBody>
          </p:sp>
        </p:grpSp>
        <p:sp>
          <p:nvSpPr>
            <p:cNvPr id="13" name="Ellipse 12"/>
            <p:cNvSpPr/>
            <p:nvPr/>
          </p:nvSpPr>
          <p:spPr bwMode="auto">
            <a:xfrm>
              <a:off x="1460624" y="6655292"/>
              <a:ext cx="108000" cy="108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CH" sz="850" b="1" i="0" u="none" strike="noStrike" normalizeH="0" baseline="0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Source Sans Pro Light" panose="020B0403030403020204" pitchFamily="34" charset="0"/>
                  <a:sym typeface="Neutraface Text Book" charset="0"/>
                </a:rPr>
                <a:t>2</a:t>
              </a:r>
              <a:endParaRPr kumimoji="0" lang="de-CH" sz="850" b="1" i="0" u="none" strike="noStrike" normalizeH="0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Source Sans Pro Light" panose="020B0403030403020204" pitchFamily="34" charset="0"/>
                <a:sym typeface="Neutraface Text Book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39747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Heatmap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735"/>
          <a:stretch/>
        </p:blipFill>
        <p:spPr bwMode="auto">
          <a:xfrm>
            <a:off x="2719667" y="1556415"/>
            <a:ext cx="4466667" cy="41768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Maps of absolute values usually answer the wrong question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b="1" dirty="0" smtClean="0">
                <a:solidFill>
                  <a:schemeClr val="bg1"/>
                </a:solidFill>
              </a:rPr>
              <a:t>Pitfall II</a:t>
            </a:r>
            <a:endParaRPr lang="en-GB" b="1" dirty="0">
              <a:solidFill>
                <a:schemeClr val="bg1"/>
              </a:solidFill>
            </a:endParaRPr>
          </a:p>
        </p:txBody>
      </p:sp>
      <p:graphicFrame>
        <p:nvGraphicFramePr>
          <p:cNvPr id="9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36068375"/>
              </p:ext>
            </p:extLst>
          </p:nvPr>
        </p:nvGraphicFramePr>
        <p:xfrm>
          <a:off x="-19044" y="5949304"/>
          <a:ext cx="9274871" cy="529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072"/>
                <a:gridCol w="8626799"/>
              </a:tblGrid>
              <a:tr h="504032">
                <a:tc>
                  <a:txBody>
                    <a:bodyPr/>
                    <a:lstStyle/>
                    <a:p>
                      <a:pPr algn="ctr">
                        <a:lnSpc>
                          <a:spcPts val="3600"/>
                        </a:lnSpc>
                      </a:pPr>
                      <a:r>
                        <a:rPr lang="en-US" sz="2500" noProof="0" dirty="0" smtClean="0">
                          <a:solidFill>
                            <a:srgbClr val="7F7F7F"/>
                          </a:solidFill>
                          <a:latin typeface="Source Sans Pro Light"/>
                          <a:cs typeface="Source Sans Pro Light"/>
                          <a:sym typeface="Wingdings 3"/>
                        </a:rPr>
                        <a:t></a:t>
                      </a:r>
                      <a:endParaRPr lang="en-US" sz="2500" noProof="0" dirty="0">
                        <a:solidFill>
                          <a:srgbClr val="7F7F7F"/>
                        </a:solidFill>
                        <a:latin typeface="Source Sans Pro Light"/>
                        <a:cs typeface="Source Sans Pro Light"/>
                      </a:endParaRPr>
                    </a:p>
                  </a:txBody>
                  <a:tcPr marL="0" marR="0" marT="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b="0" dirty="0" smtClean="0">
                          <a:solidFill>
                            <a:srgbClr val="7F7F7F"/>
                          </a:solidFill>
                          <a:latin typeface="Source Sans Pro Light"/>
                          <a:cs typeface="Source Sans Pro Light"/>
                        </a:rPr>
                        <a:t>Now</a:t>
                      </a:r>
                      <a:r>
                        <a:rPr lang="en-US" sz="1800" b="0" baseline="0" dirty="0" smtClean="0">
                          <a:solidFill>
                            <a:srgbClr val="7F7F7F"/>
                          </a:solidFill>
                          <a:latin typeface="Source Sans Pro Light"/>
                          <a:cs typeface="Source Sans Pro Light"/>
                        </a:rPr>
                        <a:t> you know why we need population statistics as an input to the map</a:t>
                      </a:r>
                      <a:endParaRPr lang="en-US" sz="1800" b="0" dirty="0" smtClean="0">
                        <a:solidFill>
                          <a:srgbClr val="7F7F7F"/>
                        </a:solidFill>
                        <a:latin typeface="Source Sans Pro Light"/>
                        <a:cs typeface="Source Sans Pro Light"/>
                      </a:endParaRPr>
                    </a:p>
                  </a:txBody>
                  <a:tcPr marL="0" marR="0" marT="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</a:tr>
            </a:tbl>
          </a:graphicData>
        </a:graphic>
      </p:graphicFrame>
      <p:sp>
        <p:nvSpPr>
          <p:cNvPr id="7" name="Textfeld 6"/>
          <p:cNvSpPr txBox="1"/>
          <p:nvPr/>
        </p:nvSpPr>
        <p:spPr>
          <a:xfrm>
            <a:off x="7427263" y="5661248"/>
            <a:ext cx="22114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200" kern="0" dirty="0">
                <a:solidFill>
                  <a:schemeClr val="bg2"/>
                </a:solidFill>
                <a:latin typeface="Source Sans Pro Light"/>
                <a:ea typeface="+mn-ea"/>
                <a:cs typeface="Source Sans Pro Light"/>
              </a:rPr>
              <a:t>https://xkcd.com/1138</a:t>
            </a:r>
            <a:r>
              <a:rPr lang="en-GB" sz="1200" kern="0" dirty="0" smtClean="0">
                <a:solidFill>
                  <a:schemeClr val="bg2"/>
                </a:solidFill>
                <a:latin typeface="Source Sans Pro Light"/>
                <a:ea typeface="+mn-ea"/>
                <a:cs typeface="Source Sans Pro Light"/>
              </a:rPr>
              <a:t>/</a:t>
            </a:r>
            <a:endParaRPr lang="en-GB" sz="1200" kern="0" dirty="0">
              <a:solidFill>
                <a:schemeClr val="bg2"/>
              </a:solidFill>
              <a:latin typeface="Source Sans Pro Light"/>
              <a:ea typeface="+mn-ea"/>
              <a:cs typeface="Source Sans Pro Light"/>
            </a:endParaRPr>
          </a:p>
        </p:txBody>
      </p:sp>
      <p:sp>
        <p:nvSpPr>
          <p:cNvPr id="8" name="Rounded Rectangular Callout 7"/>
          <p:cNvSpPr/>
          <p:nvPr>
            <p:custDataLst>
              <p:tags r:id="rId1"/>
            </p:custDataLst>
          </p:nvPr>
        </p:nvSpPr>
        <p:spPr bwMode="auto">
          <a:xfrm>
            <a:off x="7444704" y="1860183"/>
            <a:ext cx="1828776" cy="1424801"/>
          </a:xfrm>
          <a:prstGeom prst="wedgeRoundRectCallout">
            <a:avLst>
              <a:gd name="adj1" fmla="val -100726"/>
              <a:gd name="adj2" fmla="val -27189"/>
              <a:gd name="adj3" fmla="val 16667"/>
            </a:avLst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</a:bodyPr>
          <a:lstStyle/>
          <a:p>
            <a:pPr defTabSz="914296"/>
            <a:r>
              <a:rPr lang="en-US" sz="1200" dirty="0">
                <a:latin typeface="Source Sans Pro Light"/>
                <a:cs typeface="Source Sans Pro Light"/>
              </a:rPr>
              <a:t>A</a:t>
            </a:r>
            <a:r>
              <a:rPr lang="en-US" sz="1200" dirty="0" smtClean="0">
                <a:latin typeface="Source Sans Pro Light"/>
                <a:cs typeface="Source Sans Pro Light"/>
              </a:rPr>
              <a:t>bsolute values plotted on maps answer </a:t>
            </a:r>
            <a:r>
              <a:rPr lang="en-US" sz="1200" dirty="0">
                <a:latin typeface="Source Sans Pro Light"/>
                <a:cs typeface="Source Sans Pro Light"/>
              </a:rPr>
              <a:t>the question “Where do most people live</a:t>
            </a:r>
            <a:r>
              <a:rPr lang="en-US" sz="1200" dirty="0" smtClean="0">
                <a:latin typeface="Source Sans Pro Light"/>
                <a:cs typeface="Source Sans Pro Light"/>
              </a:rPr>
              <a:t>?”, which is usually not the question of interest </a:t>
            </a:r>
          </a:p>
        </p:txBody>
      </p:sp>
      <p:grpSp>
        <p:nvGrpSpPr>
          <p:cNvPr id="15" name="Gruppieren 14"/>
          <p:cNvGrpSpPr/>
          <p:nvPr/>
        </p:nvGrpSpPr>
        <p:grpSpPr>
          <a:xfrm>
            <a:off x="0" y="6598784"/>
            <a:ext cx="9914384" cy="260648"/>
            <a:chOff x="0" y="6598784"/>
            <a:chExt cx="9914384" cy="260648"/>
          </a:xfrm>
        </p:grpSpPr>
        <p:grpSp>
          <p:nvGrpSpPr>
            <p:cNvPr id="16" name="Gruppieren 15"/>
            <p:cNvGrpSpPr/>
            <p:nvPr/>
          </p:nvGrpSpPr>
          <p:grpSpPr>
            <a:xfrm>
              <a:off x="0" y="6598784"/>
              <a:ext cx="9914384" cy="260648"/>
              <a:chOff x="0" y="6598784"/>
              <a:chExt cx="9914384" cy="260648"/>
            </a:xfrm>
          </p:grpSpPr>
          <p:sp>
            <p:nvSpPr>
              <p:cNvPr id="18" name="Rectangle 7"/>
              <p:cNvSpPr/>
              <p:nvPr>
                <p:custDataLst>
                  <p:tags r:id="rId2"/>
                </p:custDataLst>
              </p:nvPr>
            </p:nvSpPr>
            <p:spPr bwMode="auto">
              <a:xfrm>
                <a:off x="0" y="6614991"/>
                <a:ext cx="5601072" cy="243009"/>
              </a:xfrm>
              <a:prstGeom prst="rect">
                <a:avLst/>
              </a:prstGeom>
              <a:solidFill>
                <a:schemeClr val="tx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29" tIns="0" rIns="91429" bIns="45715" numCol="1" rtlCol="0" anchor="t" anchorCtr="0" compatLnSpc="1">
                <a:prstTxWarp prst="textNoShape">
                  <a:avLst/>
                </a:prstTxWarp>
              </a:bodyPr>
              <a:lstStyle/>
              <a:p>
                <a:r>
                  <a:rPr lang="en-US" sz="1200" dirty="0" smtClean="0">
                    <a:solidFill>
                      <a:schemeClr val="bg1">
                        <a:lumMod val="75000"/>
                      </a:schemeClr>
                    </a:solidFill>
                    <a:latin typeface="Source Sans Pro Light" panose="020B0403030403020204" pitchFamily="34" charset="0"/>
                    <a:cs typeface="Source Sans Pro Light"/>
                  </a:rPr>
                  <a:t>Mapping Customers |       Introduction to Mapping</a:t>
                </a:r>
                <a:endParaRPr lang="en-US" sz="1200" dirty="0">
                  <a:solidFill>
                    <a:schemeClr val="bg1">
                      <a:lumMod val="75000"/>
                    </a:schemeClr>
                  </a:solidFill>
                  <a:latin typeface="Source Sans Pro Light" panose="020B0403030403020204" pitchFamily="34" charset="0"/>
                  <a:cs typeface="Source Sans Pro"/>
                </a:endParaRPr>
              </a:p>
            </p:txBody>
          </p:sp>
          <p:sp>
            <p:nvSpPr>
              <p:cNvPr id="19" name="Rectangle 7"/>
              <p:cNvSpPr/>
              <p:nvPr>
                <p:custDataLst>
                  <p:tags r:id="rId3"/>
                </p:custDataLst>
              </p:nvPr>
            </p:nvSpPr>
            <p:spPr bwMode="auto">
              <a:xfrm>
                <a:off x="5673080" y="6598784"/>
                <a:ext cx="4241304" cy="260648"/>
              </a:xfrm>
              <a:prstGeom prst="rect">
                <a:avLst/>
              </a:prstGeom>
              <a:solidFill>
                <a:schemeClr val="tx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29" tIns="0" rIns="91429" bIns="45715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r"/>
                <a:r>
                  <a:rPr lang="en-US" sz="1200" dirty="0" smtClean="0">
                    <a:solidFill>
                      <a:schemeClr val="bg1">
                        <a:lumMod val="75000"/>
                      </a:schemeClr>
                    </a:solidFill>
                    <a:latin typeface="Source Sans Pro Light" panose="020B0403030403020204" pitchFamily="34" charset="0"/>
                    <a:cs typeface="Source Sans Pro"/>
                    <a:sym typeface="Monotype Sorts"/>
                  </a:rPr>
                  <a:t>Salome </a:t>
                </a:r>
                <a:r>
                  <a:rPr lang="en-US" sz="1200" dirty="0">
                    <a:solidFill>
                      <a:schemeClr val="bg1">
                        <a:lumMod val="75000"/>
                      </a:schemeClr>
                    </a:solidFill>
                    <a:latin typeface="Source Sans Pro Light" panose="020B0403030403020204" pitchFamily="34" charset="0"/>
                    <a:cs typeface="Source Sans Pro"/>
                    <a:sym typeface="Monotype Sorts"/>
                  </a:rPr>
                  <a:t>Lang</a:t>
                </a:r>
              </a:p>
            </p:txBody>
          </p:sp>
        </p:grpSp>
        <p:sp>
          <p:nvSpPr>
            <p:cNvPr id="17" name="Ellipse 16"/>
            <p:cNvSpPr/>
            <p:nvPr/>
          </p:nvSpPr>
          <p:spPr bwMode="auto">
            <a:xfrm>
              <a:off x="1460624" y="6655292"/>
              <a:ext cx="108000" cy="108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CH" sz="850" b="1" i="0" u="none" strike="noStrike" normalizeH="0" baseline="0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Source Sans Pro Light" panose="020B0403030403020204" pitchFamily="34" charset="0"/>
                  <a:sym typeface="Neutraface Text Book" charset="0"/>
                </a:rPr>
                <a:t>2</a:t>
              </a:r>
              <a:endParaRPr kumimoji="0" lang="de-CH" sz="850" b="1" i="0" u="none" strike="noStrike" normalizeH="0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Source Sans Pro Light" panose="020B0403030403020204" pitchFamily="34" charset="0"/>
                <a:sym typeface="Neutraface Text Book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62659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6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Ry8Zc_B0eY.xlPKpc8v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Ry8Zc_B0eY.xlPKpc8v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Ry8Zc_B0eY.xlPKpc8v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Ry8Zc_B0eY.xlPKpc8v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_s9_I0PEywfD.7ZT891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_s9_I0PEywfD.7ZT891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_s9_I0PEywfD.7ZT891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_s9_I0PEywfD.7ZT891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Ry8Zc_B0eY.xlPKpc8v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Ry8Zc_B0eY.xlPKpc8v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Ry8Zc_B0eY.xlPKpc8v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Ry8Zc_B0eY.xlPKpc8v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Ry8Zc_B0eY.xlPKpc8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Ry8Zc_B0eY.xlPKpc8v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ZAz7rwoUawdXMmSO1vQ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Ry8Zc_B0eY.xlPKpc8v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Ry8Zc_B0eY.xlPKpc8v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Ry8Zc_B0eY.xlPKpc8v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Ry8Zc_B0eY.xlPKpc8v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_s9_I0PEywfD.7ZT891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0iTlrkUqEefLLVWTqt4D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Ry8Zc_B0eY.xlPKpc8v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Ry8Zc_B0eY.xlPKpc8v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Ry8Zc_B0eY.xlPKpc8v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Ry8Zc_B0eY.xlPKpc8v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Ry8Zc_B0eY.xlPKpc8v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Ry8Zc_B0eY.xlPKpc8v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_s9_I0PEywfD.7ZT891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Ry8Zc_B0eY.xlPKpc8v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Ry8Zc_B0eY.xlPKpc8v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Ry8Zc_B0eY.xlPKpc8v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1XZwVpkqkCDZ8uFSo26H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Ry8Zc_B0eY.xlPKpc8v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Ry8Zc_B0eY.xlPKpc8v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Ry8Zc_B0eY.xlPKpc8v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Ry8Zc_B0eY.xlPKpc8v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Ry8Zc_B0eY.xlPKpc8v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_s9_I0PEywfD.7ZT891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_s9_I0PEywfD.7ZT891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Ry8Zc_B0eY.xlPKpc8v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Ry8Zc_B0eY.xlPKpc8v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Ry8Zc_B0eY.xlPKpc8v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vEcO7X.U.Y6rfIsdLnv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Ry8Zc_B0eY.xlPKpc8v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Ry8Zc_B0eY.xlPKpc8v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Ry8Zc_B0eY.xlPKpc8v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Ry8Zc_B0eY.xlPKpc8v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Ry8Zc_B0eY.xlPKpc8v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mE8zxHo06U_PWVPsJfp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Ry8Zc_B0eY.xlPKpc8v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Ry8Zc_B0eY.xlPKpc8v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mE8zxHo06U_PWVPsJfp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Ry8Zc_B0eY.xlPKpc8v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7yUHye.U2oBkBlDQDez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Ry8Zc_B0eY.xlPKpc8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v8.vsoOESO2Nq0ifulQ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Ry8Zc_B0eY.xlPKpc8v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Ry8Zc_B0eY.xlPKpc8vA"/>
</p:tagLst>
</file>

<file path=ppt/theme/theme1.xml><?xml version="1.0" encoding="utf-8"?>
<a:theme xmlns:a="http://schemas.openxmlformats.org/drawingml/2006/main" name="Text">
  <a:themeElements>
    <a:clrScheme name="Custom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70C0"/>
      </a:hlink>
      <a:folHlink>
        <a:srgbClr val="99CC00"/>
      </a:folHlink>
    </a:clrScheme>
    <a:fontScheme name="text cat 1">
      <a:majorFont>
        <a:latin typeface="Neutraface Text Book"/>
        <a:ea typeface="ヒラギノ角ゴ ProN W3"/>
        <a:cs typeface="ヒラギノ角ゴ ProN W3"/>
      </a:majorFont>
      <a:minorFont>
        <a:latin typeface="Neutraface Text Book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BBE0E3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Neutraface Text Book" charset="0"/>
            <a:ea typeface="ヒラギノ角ゴ ProN W3" charset="0"/>
            <a:cs typeface="ヒラギノ角ゴ ProN W3" charset="0"/>
            <a:sym typeface="Neutraface Text Book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BBE0E3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Neutraface Text Book" charset="0"/>
            <a:ea typeface="ヒラギノ角ゴ ProN W3" charset="0"/>
            <a:cs typeface="ヒラギノ角ゴ ProN W3" charset="0"/>
            <a:sym typeface="Neutraface Text Book" charset="0"/>
          </a:defRPr>
        </a:defPPr>
      </a:lstStyle>
    </a:lnDef>
  </a:objectDefaults>
  <a:extraClrSchemeLst>
    <a:extraClrScheme>
      <a:clrScheme name="text cat 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lipstream</Template>
  <TotalTime>0</TotalTime>
  <Pages>0</Pages>
  <Words>1222</Words>
  <Characters>0</Characters>
  <Application>Microsoft Office PowerPoint</Application>
  <PresentationFormat>A4-Papier (210x297 mm)</PresentationFormat>
  <Lines>0</Lines>
  <Paragraphs>341</Paragraphs>
  <Slides>22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2</vt:i4>
      </vt:variant>
    </vt:vector>
  </HeadingPairs>
  <TitlesOfParts>
    <vt:vector size="36" baseType="lpstr">
      <vt:lpstr>Calibri</vt:lpstr>
      <vt:lpstr>Source Sans Pro Semibold</vt:lpstr>
      <vt:lpstr>Monotype Sorts</vt:lpstr>
      <vt:lpstr>Wingdings 3</vt:lpstr>
      <vt:lpstr>Helvetica Neue</vt:lpstr>
      <vt:lpstr>Courier New</vt:lpstr>
      <vt:lpstr>Source Sans Pro Light</vt:lpstr>
      <vt:lpstr>Source Sans Pro</vt:lpstr>
      <vt:lpstr>ヒラギノ角ゴ ProN W3</vt:lpstr>
      <vt:lpstr>Wingdings</vt:lpstr>
      <vt:lpstr>Source Sans Pro Bold</vt:lpstr>
      <vt:lpstr>Neutraface Text Book</vt:lpstr>
      <vt:lpstr>Text</vt:lpstr>
      <vt:lpstr>think-cell Slide</vt:lpstr>
      <vt:lpstr>Mapping customers A guide to interactive thematic maps for marketing analytics</vt:lpstr>
      <vt:lpstr>Mapping Customers Agenda</vt:lpstr>
      <vt:lpstr>Data visualizations are essential in marketing analytics and maps are a popular form of visualization</vt:lpstr>
      <vt:lpstr>The weighted interactive map requires three inputs</vt:lpstr>
      <vt:lpstr>Mapping Customers Agenda</vt:lpstr>
      <vt:lpstr>Imagine you consulted a retail firm…</vt:lpstr>
      <vt:lpstr>… you would like to draw an informative map</vt:lpstr>
      <vt:lpstr>Visualizing data on a map is only the cherry on the cake</vt:lpstr>
      <vt:lpstr>Maps of absolute values usually answer the wrong question</vt:lpstr>
      <vt:lpstr>Mapping Customers Agenda</vt:lpstr>
      <vt:lpstr>To avoid pitfall I, we carefully screen the data</vt:lpstr>
      <vt:lpstr>In most ZIP code areas, the retailer reaches less than 4% of the population </vt:lpstr>
      <vt:lpstr>Mapping Customers Agenda</vt:lpstr>
      <vt:lpstr>If you remember anything of this presentation, it should be these two points</vt:lpstr>
      <vt:lpstr>This the map for the number of customers  weighted by population density…</vt:lpstr>
      <vt:lpstr>…and it has pop ups and a zoom</vt:lpstr>
      <vt:lpstr>Mapping Customers Agenda</vt:lpstr>
      <vt:lpstr>Maps may not always be more useful, but they are pretty… </vt:lpstr>
      <vt:lpstr>Mapping Customers Agenda</vt:lpstr>
      <vt:lpstr>References</vt:lpstr>
      <vt:lpstr>References</vt:lpstr>
      <vt:lpstr>Social Customer Relationship Management: Group Assignment</vt:lpstr>
    </vt:vector>
  </TitlesOfParts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rkus Meierer</dc:creator>
  <cp:lastModifiedBy>Salome Lang</cp:lastModifiedBy>
  <cp:revision>1810</cp:revision>
  <cp:lastPrinted>2013-08-21T15:31:49Z</cp:lastPrinted>
  <dcterms:created xsi:type="dcterms:W3CDTF">2012-01-01T19:20:04Z</dcterms:created>
  <dcterms:modified xsi:type="dcterms:W3CDTF">2015-12-07T12:34:26Z</dcterms:modified>
</cp:coreProperties>
</file>